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2" r:id="rId1"/>
    <p:sldMasterId id="2147484204" r:id="rId2"/>
  </p:sldMasterIdLst>
  <p:notesMasterIdLst>
    <p:notesMasterId r:id="rId17"/>
  </p:notesMasterIdLst>
  <p:handoutMasterIdLst>
    <p:handoutMasterId r:id="rId18"/>
  </p:handoutMasterIdLst>
  <p:sldIdLst>
    <p:sldId id="450" r:id="rId3"/>
    <p:sldId id="2145706634" r:id="rId4"/>
    <p:sldId id="430" r:id="rId5"/>
    <p:sldId id="433" r:id="rId6"/>
    <p:sldId id="436" r:id="rId7"/>
    <p:sldId id="434" r:id="rId8"/>
    <p:sldId id="446" r:id="rId9"/>
    <p:sldId id="445" r:id="rId10"/>
    <p:sldId id="447" r:id="rId11"/>
    <p:sldId id="442" r:id="rId12"/>
    <p:sldId id="455" r:id="rId13"/>
    <p:sldId id="448" r:id="rId14"/>
    <p:sldId id="1041" r:id="rId15"/>
    <p:sldId id="2145706635" r:id="rId16"/>
  </p:sldIdLst>
  <p:sldSz cx="12192000" cy="6858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50"/>
            <p14:sldId id="2145706634"/>
            <p14:sldId id="430"/>
            <p14:sldId id="433"/>
            <p14:sldId id="436"/>
            <p14:sldId id="434"/>
            <p14:sldId id="446"/>
            <p14:sldId id="445"/>
            <p14:sldId id="447"/>
            <p14:sldId id="442"/>
            <p14:sldId id="455"/>
            <p14:sldId id="448"/>
            <p14:sldId id="1041"/>
            <p14:sldId id="2145706635"/>
          </p14:sldIdLst>
        </p14:section>
      </p14:sectionLst>
    </p:ext>
    <p:ext uri="{EFAFB233-063F-42B5-8137-9DF3F51BA10A}">
      <p15:sldGuideLst xmlns:p15="http://schemas.microsoft.com/office/powerpoint/2012/main">
        <p15:guide id="5" orient="horz" pos="2352" userDrawn="1">
          <p15:clr>
            <a:srgbClr val="A4A3A4"/>
          </p15:clr>
        </p15:guide>
        <p15:guide id="7" pos="3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95E616"/>
    <a:srgbClr val="FF6327"/>
    <a:srgbClr val="0070AD"/>
    <a:srgbClr val="4701A7"/>
    <a:srgbClr val="FF7E83"/>
    <a:srgbClr val="2B0A3D"/>
    <a:srgbClr val="00C37B"/>
    <a:srgbClr val="01D1D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F48DFA-210D-4D9C-9945-8AA8CEF192B8}" v="1576" dt="2023-08-07T13:41:39.6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352"/>
        <p:guide pos="364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iagrams/_rels/data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hyperlink" Target="https://passbook.epfindia.gov.in/MemberPassBook/Loginand" TargetMode="External"/><Relationship Id="rId5" Type="http://schemas.openxmlformats.org/officeDocument/2006/relationships/image" Target="../media/image16.png"/><Relationship Id="rId4" Type="http://schemas.openxmlformats.org/officeDocument/2006/relationships/image" Target="../media/image15.jpeg"/></Relationships>
</file>

<file path=ppt/diagrams/_rels/data5.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hyperlink" Target="mailto:employeefeedback@epfindia.gov.in" TargetMode="External"/><Relationship Id="rId1" Type="http://schemas.openxmlformats.org/officeDocument/2006/relationships/hyperlink" Target="mailto:retiralshelpdesk.in@neocasemail.com" TargetMode="Externa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diagrams/_rels/data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24.png"/><Relationship Id="rId1" Type="http://schemas.openxmlformats.org/officeDocument/2006/relationships/hyperlink" Target="mailto:retiralshelpdesk.in@neocasemail.com" TargetMode="Externa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s>
</file>

<file path=ppt/diagrams/_rels/data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hyperlink" Target="mailto:retiralshelpdesk.in@neocasemail.com" TargetMode="Externa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diagrams/_rels/drawing4.xml.rels><?xml version="1.0" encoding="UTF-8" standalone="yes"?>
<Relationships xmlns="http://schemas.openxmlformats.org/package/2006/relationships"><Relationship Id="rId3" Type="http://schemas.openxmlformats.org/officeDocument/2006/relationships/hyperlink" Target="https://passbook.epfindia.gov.in/MemberPassBook/Loginand" TargetMode="External"/><Relationship Id="rId2" Type="http://schemas.openxmlformats.org/officeDocument/2006/relationships/image" Target="../media/image14.jpeg"/><Relationship Id="rId1" Type="http://schemas.openxmlformats.org/officeDocument/2006/relationships/image" Target="../media/image13.png"/><Relationship Id="rId5" Type="http://schemas.openxmlformats.org/officeDocument/2006/relationships/image" Target="../media/image16.png"/><Relationship Id="rId4" Type="http://schemas.openxmlformats.org/officeDocument/2006/relationships/image" Target="../media/image15.jpeg"/></Relationships>
</file>

<file path=ppt/diagrams/_rels/drawing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hyperlink" Target="mailto:retiralshelpdesk.in@neocasemail.com" TargetMode="External"/><Relationship Id="rId7" Type="http://schemas.openxmlformats.org/officeDocument/2006/relationships/image" Target="../media/image29.svg"/><Relationship Id="rId12" Type="http://schemas.openxmlformats.org/officeDocument/2006/relationships/hyperlink" Target="mailto:employeefeedback@epfindia.gov.in" TargetMode="External"/><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5.svg"/></Relationships>
</file>

<file path=ppt/diagrams/_rels/drawing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11" Type="http://schemas.openxmlformats.org/officeDocument/2006/relationships/image" Target="../media/image33.sv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svg"/><Relationship Id="rId9" Type="http://schemas.openxmlformats.org/officeDocument/2006/relationships/hyperlink" Target="mailto:retiralshelpdesk.in@neocasemail.com" TargetMode="External"/></Relationships>
</file>

<file path=ppt/diagrams/_rels/drawing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mailto:retiralshelpdesk.in@neocasemail.com" TargetMode="External"/><Relationship Id="rId7" Type="http://schemas.openxmlformats.org/officeDocument/2006/relationships/image" Target="../media/image41.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60B107-0D38-45BD-85DA-3843EB7F7EFD}" type="doc">
      <dgm:prSet loTypeId="urn:microsoft.com/office/officeart/2005/8/layout/vList2" loCatId="list" qsTypeId="urn:microsoft.com/office/officeart/2005/8/quickstyle/simple1" qsCatId="simple" csTypeId="urn:microsoft.com/office/officeart/2005/8/colors/accent2_5" csCatId="accent2" phldr="1"/>
      <dgm:spPr/>
      <dgm:t>
        <a:bodyPr/>
        <a:lstStyle/>
        <a:p>
          <a:endParaRPr lang="en-IN"/>
        </a:p>
      </dgm:t>
    </dgm:pt>
    <dgm:pt modelId="{D9EF59C1-61B2-4B7B-A5E1-5F424FEAB9BD}">
      <dgm:prSet phldrT="[Text]" custT="1"/>
      <dgm:spPr>
        <a:solidFill>
          <a:schemeClr val="accent1">
            <a:lumMod val="75000"/>
            <a:alpha val="90000"/>
          </a:schemeClr>
        </a:solidFill>
      </dgm:spPr>
      <dgm:t>
        <a:bodyPr/>
        <a:lstStyle/>
        <a:p>
          <a:r>
            <a:rPr lang="en-IN" sz="1800">
              <a:solidFill>
                <a:schemeClr val="bg1"/>
              </a:solidFill>
            </a:rPr>
            <a:t>PROVIDENT FUND</a:t>
          </a:r>
        </a:p>
      </dgm:t>
    </dgm:pt>
    <dgm:pt modelId="{EACAFADD-28E3-4094-8781-77A466F3F95E}" type="parTrans" cxnId="{7339E809-9217-4A10-A9CB-8E0CCB2C797D}">
      <dgm:prSet/>
      <dgm:spPr/>
      <dgm:t>
        <a:bodyPr/>
        <a:lstStyle/>
        <a:p>
          <a:endParaRPr lang="en-IN" sz="1400">
            <a:solidFill>
              <a:schemeClr val="bg1"/>
            </a:solidFill>
          </a:endParaRPr>
        </a:p>
      </dgm:t>
    </dgm:pt>
    <dgm:pt modelId="{A45F1146-9C93-41B7-9E44-2B292D16A34C}" type="sibTrans" cxnId="{7339E809-9217-4A10-A9CB-8E0CCB2C797D}">
      <dgm:prSet/>
      <dgm:spPr/>
      <dgm:t>
        <a:bodyPr/>
        <a:lstStyle/>
        <a:p>
          <a:endParaRPr lang="en-IN" sz="1400">
            <a:solidFill>
              <a:schemeClr val="bg1"/>
            </a:solidFill>
          </a:endParaRPr>
        </a:p>
      </dgm:t>
    </dgm:pt>
    <dgm:pt modelId="{27687260-C93E-4314-8963-8DDB040E5CD3}">
      <dgm:prSet phldrT="[Text]" custT="1"/>
      <dgm:spPr/>
      <dgm:t>
        <a:bodyPr/>
        <a:lstStyle/>
        <a:p>
          <a:r>
            <a:rPr lang="en-IN" sz="1400">
              <a:solidFill>
                <a:schemeClr val="bg1"/>
              </a:solidFill>
              <a:latin typeface="+mn-lt"/>
            </a:rPr>
            <a:t>UAN &amp; BENEFITS</a:t>
          </a:r>
          <a:endParaRPr lang="en-IN" sz="1400" dirty="0">
            <a:solidFill>
              <a:schemeClr val="bg1"/>
            </a:solidFill>
          </a:endParaRPr>
        </a:p>
      </dgm:t>
    </dgm:pt>
    <dgm:pt modelId="{E74AD413-CEED-4550-9D28-F9318FEE66BB}" type="parTrans" cxnId="{91ABB44A-2F36-4857-B651-2BDE35A399AB}">
      <dgm:prSet/>
      <dgm:spPr/>
      <dgm:t>
        <a:bodyPr/>
        <a:lstStyle/>
        <a:p>
          <a:endParaRPr lang="en-IN" sz="1400">
            <a:solidFill>
              <a:schemeClr val="bg1"/>
            </a:solidFill>
          </a:endParaRPr>
        </a:p>
      </dgm:t>
    </dgm:pt>
    <dgm:pt modelId="{89D00C64-1DB8-46F9-9788-7D49DD843F80}" type="sibTrans" cxnId="{91ABB44A-2F36-4857-B651-2BDE35A399AB}">
      <dgm:prSet/>
      <dgm:spPr/>
      <dgm:t>
        <a:bodyPr/>
        <a:lstStyle/>
        <a:p>
          <a:endParaRPr lang="en-IN" sz="1400">
            <a:solidFill>
              <a:schemeClr val="bg1"/>
            </a:solidFill>
          </a:endParaRPr>
        </a:p>
      </dgm:t>
    </dgm:pt>
    <dgm:pt modelId="{F544E4BE-C273-4C66-B014-D3B48C70DBF7}">
      <dgm:prSet phldrT="[Text]" custT="1"/>
      <dgm:spPr>
        <a:solidFill>
          <a:schemeClr val="accent1">
            <a:lumMod val="75000"/>
            <a:alpha val="70000"/>
          </a:schemeClr>
        </a:solidFill>
      </dgm:spPr>
      <dgm:t>
        <a:bodyPr/>
        <a:lstStyle/>
        <a:p>
          <a:r>
            <a:rPr lang="en-IN" sz="1800">
              <a:solidFill>
                <a:schemeClr val="bg1"/>
              </a:solidFill>
            </a:rPr>
            <a:t>GRATUITY FUND</a:t>
          </a:r>
        </a:p>
      </dgm:t>
    </dgm:pt>
    <dgm:pt modelId="{D01B8F2D-9992-4232-BC61-607AA8ED7CE1}" type="parTrans" cxnId="{FA89E68B-B900-4015-8BFB-2CEA47A6E425}">
      <dgm:prSet/>
      <dgm:spPr/>
      <dgm:t>
        <a:bodyPr/>
        <a:lstStyle/>
        <a:p>
          <a:endParaRPr lang="en-IN" sz="1400">
            <a:solidFill>
              <a:schemeClr val="bg1"/>
            </a:solidFill>
          </a:endParaRPr>
        </a:p>
      </dgm:t>
    </dgm:pt>
    <dgm:pt modelId="{33D04C32-5FB5-4104-80B3-5960BA03FFE5}" type="sibTrans" cxnId="{FA89E68B-B900-4015-8BFB-2CEA47A6E425}">
      <dgm:prSet/>
      <dgm:spPr/>
      <dgm:t>
        <a:bodyPr/>
        <a:lstStyle/>
        <a:p>
          <a:endParaRPr lang="en-IN" sz="1400">
            <a:solidFill>
              <a:schemeClr val="bg1"/>
            </a:solidFill>
          </a:endParaRPr>
        </a:p>
      </dgm:t>
    </dgm:pt>
    <dgm:pt modelId="{DE0E661B-88E4-4F29-8BE5-0988ADA50AE6}">
      <dgm:prSet phldrT="[Text]" custT="1"/>
      <dgm:spPr/>
      <dgm:t>
        <a:bodyPr/>
        <a:lstStyle/>
        <a:p>
          <a:r>
            <a:rPr lang="en-IN" sz="1400">
              <a:solidFill>
                <a:schemeClr val="bg1"/>
              </a:solidFill>
            </a:rPr>
            <a:t>ELIGIBILITY &amp; THE PROCESS FOR GRATUITY FUND</a:t>
          </a:r>
        </a:p>
      </dgm:t>
    </dgm:pt>
    <dgm:pt modelId="{47E848F5-013B-45E9-ABD5-2F589354422B}" type="parTrans" cxnId="{499AAB37-B68A-4252-B3C7-11D8464CFCC4}">
      <dgm:prSet/>
      <dgm:spPr/>
      <dgm:t>
        <a:bodyPr/>
        <a:lstStyle/>
        <a:p>
          <a:endParaRPr lang="en-IN" sz="1400">
            <a:solidFill>
              <a:schemeClr val="bg1"/>
            </a:solidFill>
          </a:endParaRPr>
        </a:p>
      </dgm:t>
    </dgm:pt>
    <dgm:pt modelId="{77D5C6D2-AB00-4280-8B6A-DBB2855E5E52}" type="sibTrans" cxnId="{499AAB37-B68A-4252-B3C7-11D8464CFCC4}">
      <dgm:prSet/>
      <dgm:spPr/>
      <dgm:t>
        <a:bodyPr/>
        <a:lstStyle/>
        <a:p>
          <a:endParaRPr lang="en-IN" sz="1400">
            <a:solidFill>
              <a:schemeClr val="bg1"/>
            </a:solidFill>
          </a:endParaRPr>
        </a:p>
      </dgm:t>
    </dgm:pt>
    <dgm:pt modelId="{54EE58F7-C61A-4455-A33A-213A6321FDB9}">
      <dgm:prSet phldrT="[Text]" custT="1"/>
      <dgm:spPr/>
      <dgm:t>
        <a:bodyPr/>
        <a:lstStyle/>
        <a:p>
          <a:r>
            <a:rPr lang="en-IN" sz="1400" dirty="0">
              <a:solidFill>
                <a:schemeClr val="bg1"/>
              </a:solidFill>
              <a:latin typeface="+mn-lt"/>
            </a:rPr>
            <a:t>TRACKING OF CLAIMS</a:t>
          </a:r>
          <a:endParaRPr lang="en-IN" sz="1400" dirty="0">
            <a:solidFill>
              <a:schemeClr val="bg1"/>
            </a:solidFill>
          </a:endParaRPr>
        </a:p>
      </dgm:t>
    </dgm:pt>
    <dgm:pt modelId="{AF785490-82BC-4F58-9532-841601DFD581}" type="parTrans" cxnId="{7A96B5D7-0CE1-4319-BB92-40A5ABBB3C32}">
      <dgm:prSet/>
      <dgm:spPr/>
      <dgm:t>
        <a:bodyPr/>
        <a:lstStyle/>
        <a:p>
          <a:endParaRPr lang="en-IN" sz="1400">
            <a:solidFill>
              <a:schemeClr val="bg1"/>
            </a:solidFill>
          </a:endParaRPr>
        </a:p>
      </dgm:t>
    </dgm:pt>
    <dgm:pt modelId="{C08679E6-5726-477E-BDEB-99ACF92649DE}" type="sibTrans" cxnId="{7A96B5D7-0CE1-4319-BB92-40A5ABBB3C32}">
      <dgm:prSet/>
      <dgm:spPr/>
      <dgm:t>
        <a:bodyPr/>
        <a:lstStyle/>
        <a:p>
          <a:endParaRPr lang="en-IN" sz="1400">
            <a:solidFill>
              <a:schemeClr val="bg1"/>
            </a:solidFill>
          </a:endParaRPr>
        </a:p>
      </dgm:t>
    </dgm:pt>
    <dgm:pt modelId="{CEB2D988-8598-41D8-AD98-CF2DD2D78AD4}">
      <dgm:prSet phldrT="[Text]" custT="1"/>
      <dgm:spPr/>
      <dgm:t>
        <a:bodyPr/>
        <a:lstStyle/>
        <a:p>
          <a:r>
            <a:rPr lang="en-IN" sz="1400" dirty="0">
              <a:solidFill>
                <a:schemeClr val="bg1"/>
              </a:solidFill>
              <a:latin typeface="+mn-lt"/>
            </a:rPr>
            <a:t>UAN ACTIVATION</a:t>
          </a:r>
          <a:endParaRPr lang="en-IN" sz="1400" dirty="0">
            <a:solidFill>
              <a:schemeClr val="bg1"/>
            </a:solidFill>
          </a:endParaRPr>
        </a:p>
      </dgm:t>
    </dgm:pt>
    <dgm:pt modelId="{8616BB3D-4825-4644-A84C-92026B10F336}" type="parTrans" cxnId="{0A776E09-4141-4FAA-B3D6-0055FAD19432}">
      <dgm:prSet/>
      <dgm:spPr/>
      <dgm:t>
        <a:bodyPr/>
        <a:lstStyle/>
        <a:p>
          <a:endParaRPr lang="en-IN" sz="1400">
            <a:solidFill>
              <a:schemeClr val="bg1"/>
            </a:solidFill>
          </a:endParaRPr>
        </a:p>
      </dgm:t>
    </dgm:pt>
    <dgm:pt modelId="{447C7A43-8B77-4E37-B840-B2E6063AC071}" type="sibTrans" cxnId="{0A776E09-4141-4FAA-B3D6-0055FAD19432}">
      <dgm:prSet/>
      <dgm:spPr/>
      <dgm:t>
        <a:bodyPr/>
        <a:lstStyle/>
        <a:p>
          <a:endParaRPr lang="en-IN" sz="1400">
            <a:solidFill>
              <a:schemeClr val="bg1"/>
            </a:solidFill>
          </a:endParaRPr>
        </a:p>
      </dgm:t>
    </dgm:pt>
    <dgm:pt modelId="{7376272C-1C94-4B4B-93E9-70F3B6983F68}">
      <dgm:prSet phldrT="[Text]" custT="1"/>
      <dgm:spPr/>
      <dgm:t>
        <a:bodyPr/>
        <a:lstStyle/>
        <a:p>
          <a:r>
            <a:rPr lang="en-IN" sz="1400">
              <a:solidFill>
                <a:schemeClr val="bg1"/>
              </a:solidFill>
              <a:latin typeface="+mn-lt"/>
            </a:rPr>
            <a:t>E-NOMINATION UNDER UAN PROFILE</a:t>
          </a:r>
          <a:endParaRPr lang="en-IN" sz="1400">
            <a:solidFill>
              <a:schemeClr val="bg1"/>
            </a:solidFill>
          </a:endParaRPr>
        </a:p>
      </dgm:t>
    </dgm:pt>
    <dgm:pt modelId="{0B3DA4C1-2653-414F-927B-1DCC66F9C036}" type="parTrans" cxnId="{BE50BDCF-9451-4892-B4D9-0582D7A155DC}">
      <dgm:prSet/>
      <dgm:spPr/>
      <dgm:t>
        <a:bodyPr/>
        <a:lstStyle/>
        <a:p>
          <a:endParaRPr lang="en-IN" sz="1400">
            <a:solidFill>
              <a:schemeClr val="bg1"/>
            </a:solidFill>
          </a:endParaRPr>
        </a:p>
      </dgm:t>
    </dgm:pt>
    <dgm:pt modelId="{F3B51FF8-A9E3-4ED9-B729-AC2B89EEA681}" type="sibTrans" cxnId="{BE50BDCF-9451-4892-B4D9-0582D7A155DC}">
      <dgm:prSet/>
      <dgm:spPr/>
      <dgm:t>
        <a:bodyPr/>
        <a:lstStyle/>
        <a:p>
          <a:endParaRPr lang="en-IN" sz="1400">
            <a:solidFill>
              <a:schemeClr val="bg1"/>
            </a:solidFill>
          </a:endParaRPr>
        </a:p>
      </dgm:t>
    </dgm:pt>
    <dgm:pt modelId="{580EB28F-7ED6-4126-A450-ADAE2763D577}">
      <dgm:prSet phldrT="[Text]" custT="1"/>
      <dgm:spPr/>
      <dgm:t>
        <a:bodyPr/>
        <a:lstStyle/>
        <a:p>
          <a:r>
            <a:rPr lang="en-IN" sz="1400">
              <a:solidFill>
                <a:schemeClr val="bg1"/>
              </a:solidFill>
              <a:latin typeface="+mn-lt"/>
            </a:rPr>
            <a:t>ONLINE CLAIM SERVICES</a:t>
          </a:r>
          <a:endParaRPr lang="en-IN" sz="1400">
            <a:solidFill>
              <a:schemeClr val="bg1"/>
            </a:solidFill>
          </a:endParaRPr>
        </a:p>
      </dgm:t>
    </dgm:pt>
    <dgm:pt modelId="{9EEFB0AD-F751-4CB7-AF5A-104B41C3BBD1}" type="parTrans" cxnId="{FC7F09FC-7709-4DF3-9C6C-E936F18F8E46}">
      <dgm:prSet/>
      <dgm:spPr/>
      <dgm:t>
        <a:bodyPr/>
        <a:lstStyle/>
        <a:p>
          <a:endParaRPr lang="en-IN" sz="1400">
            <a:solidFill>
              <a:schemeClr val="bg1"/>
            </a:solidFill>
          </a:endParaRPr>
        </a:p>
      </dgm:t>
    </dgm:pt>
    <dgm:pt modelId="{BE671894-0E0B-409D-97C7-67C40693AFDA}" type="sibTrans" cxnId="{FC7F09FC-7709-4DF3-9C6C-E936F18F8E46}">
      <dgm:prSet/>
      <dgm:spPr/>
      <dgm:t>
        <a:bodyPr/>
        <a:lstStyle/>
        <a:p>
          <a:endParaRPr lang="en-IN" sz="1400">
            <a:solidFill>
              <a:schemeClr val="bg1"/>
            </a:solidFill>
          </a:endParaRPr>
        </a:p>
      </dgm:t>
    </dgm:pt>
    <dgm:pt modelId="{1FFA9C4C-9289-4E1F-B28E-68192F9EF651}">
      <dgm:prSet custT="1"/>
      <dgm:spPr>
        <a:solidFill>
          <a:schemeClr val="accent1">
            <a:lumMod val="75000"/>
            <a:alpha val="50000"/>
          </a:schemeClr>
        </a:solidFill>
      </dgm:spPr>
      <dgm:t>
        <a:bodyPr/>
        <a:lstStyle/>
        <a:p>
          <a:r>
            <a:rPr lang="en-IN" sz="1800" dirty="0">
              <a:solidFill>
                <a:schemeClr val="bg1"/>
              </a:solidFill>
            </a:rPr>
            <a:t>FAQs &amp; CONTACT DETAILS</a:t>
          </a:r>
        </a:p>
      </dgm:t>
    </dgm:pt>
    <dgm:pt modelId="{FFC116F6-0353-4BBD-8497-41035B53A37D}" type="parTrans" cxnId="{8BFDF68C-E236-490D-BE7F-82878F1813DB}">
      <dgm:prSet/>
      <dgm:spPr/>
      <dgm:t>
        <a:bodyPr/>
        <a:lstStyle/>
        <a:p>
          <a:endParaRPr lang="en-IN" sz="1400">
            <a:solidFill>
              <a:schemeClr val="bg1"/>
            </a:solidFill>
          </a:endParaRPr>
        </a:p>
      </dgm:t>
    </dgm:pt>
    <dgm:pt modelId="{3474DD33-7AA0-4358-B2E8-63D6507230C6}" type="sibTrans" cxnId="{8BFDF68C-E236-490D-BE7F-82878F1813DB}">
      <dgm:prSet/>
      <dgm:spPr/>
      <dgm:t>
        <a:bodyPr/>
        <a:lstStyle/>
        <a:p>
          <a:endParaRPr lang="en-IN" sz="1400">
            <a:solidFill>
              <a:schemeClr val="bg1"/>
            </a:solidFill>
          </a:endParaRPr>
        </a:p>
      </dgm:t>
    </dgm:pt>
    <dgm:pt modelId="{9E0E4F06-6C91-4F47-8D73-373D7F5202AD}">
      <dgm:prSet phldrT="[Text]" custT="1"/>
      <dgm:spPr/>
      <dgm:t>
        <a:bodyPr/>
        <a:lstStyle/>
        <a:p>
          <a:endParaRPr lang="en-IN" sz="1400">
            <a:solidFill>
              <a:schemeClr val="bg1"/>
            </a:solidFill>
          </a:endParaRPr>
        </a:p>
      </dgm:t>
    </dgm:pt>
    <dgm:pt modelId="{A024C7B1-D36A-447C-B841-4FA74A3BD327}" type="parTrans" cxnId="{A54FBC12-270D-4680-8445-51F0FDAE6E74}">
      <dgm:prSet/>
      <dgm:spPr/>
      <dgm:t>
        <a:bodyPr/>
        <a:lstStyle/>
        <a:p>
          <a:endParaRPr lang="en-IN" sz="2000">
            <a:solidFill>
              <a:schemeClr val="bg1"/>
            </a:solidFill>
          </a:endParaRPr>
        </a:p>
      </dgm:t>
    </dgm:pt>
    <dgm:pt modelId="{0D481817-1CFC-43E2-88B1-39B23A85619B}" type="sibTrans" cxnId="{A54FBC12-270D-4680-8445-51F0FDAE6E74}">
      <dgm:prSet/>
      <dgm:spPr/>
      <dgm:t>
        <a:bodyPr/>
        <a:lstStyle/>
        <a:p>
          <a:endParaRPr lang="en-IN" sz="2000">
            <a:solidFill>
              <a:schemeClr val="bg1"/>
            </a:solidFill>
          </a:endParaRPr>
        </a:p>
      </dgm:t>
    </dgm:pt>
    <dgm:pt modelId="{6E4450E4-DE7C-42A9-A6B6-D3BC6ABE5379}">
      <dgm:prSet phldrT="[Text]" custT="1"/>
      <dgm:spPr/>
      <dgm:t>
        <a:bodyPr/>
        <a:lstStyle/>
        <a:p>
          <a:endParaRPr lang="en-IN" sz="1400">
            <a:solidFill>
              <a:schemeClr val="bg1"/>
            </a:solidFill>
          </a:endParaRPr>
        </a:p>
      </dgm:t>
    </dgm:pt>
    <dgm:pt modelId="{F37CD9C4-66A8-4E17-86A7-1DF19DC38653}" type="parTrans" cxnId="{4CFC801C-69AF-4294-A25C-4D7B9F641A8E}">
      <dgm:prSet/>
      <dgm:spPr/>
      <dgm:t>
        <a:bodyPr/>
        <a:lstStyle/>
        <a:p>
          <a:endParaRPr lang="en-IN" sz="2000">
            <a:solidFill>
              <a:schemeClr val="bg1"/>
            </a:solidFill>
          </a:endParaRPr>
        </a:p>
      </dgm:t>
    </dgm:pt>
    <dgm:pt modelId="{28623F2E-3097-4899-82B5-3626271180B3}" type="sibTrans" cxnId="{4CFC801C-69AF-4294-A25C-4D7B9F641A8E}">
      <dgm:prSet/>
      <dgm:spPr/>
      <dgm:t>
        <a:bodyPr/>
        <a:lstStyle/>
        <a:p>
          <a:endParaRPr lang="en-IN" sz="2000">
            <a:solidFill>
              <a:schemeClr val="bg1"/>
            </a:solidFill>
          </a:endParaRPr>
        </a:p>
      </dgm:t>
    </dgm:pt>
    <dgm:pt modelId="{AA4327C7-3D39-469A-BC02-B453BB34AF40}">
      <dgm:prSet phldrT="[Text]" custT="1"/>
      <dgm:spPr/>
      <dgm:t>
        <a:bodyPr/>
        <a:lstStyle/>
        <a:p>
          <a:endParaRPr lang="en-IN" sz="1400">
            <a:solidFill>
              <a:schemeClr val="bg1"/>
            </a:solidFill>
          </a:endParaRPr>
        </a:p>
      </dgm:t>
    </dgm:pt>
    <dgm:pt modelId="{1181D534-1C12-4887-A2B3-EBC79DE07439}" type="parTrans" cxnId="{16E6344B-3016-4F77-9976-4F91336D6853}">
      <dgm:prSet/>
      <dgm:spPr/>
      <dgm:t>
        <a:bodyPr/>
        <a:lstStyle/>
        <a:p>
          <a:endParaRPr lang="en-IN" sz="2000">
            <a:solidFill>
              <a:schemeClr val="bg1"/>
            </a:solidFill>
          </a:endParaRPr>
        </a:p>
      </dgm:t>
    </dgm:pt>
    <dgm:pt modelId="{0E30A4FC-AA3B-4445-A4FC-222228F3CEB3}" type="sibTrans" cxnId="{16E6344B-3016-4F77-9976-4F91336D6853}">
      <dgm:prSet/>
      <dgm:spPr/>
      <dgm:t>
        <a:bodyPr/>
        <a:lstStyle/>
        <a:p>
          <a:endParaRPr lang="en-IN" sz="2000">
            <a:solidFill>
              <a:schemeClr val="bg1"/>
            </a:solidFill>
          </a:endParaRPr>
        </a:p>
      </dgm:t>
    </dgm:pt>
    <dgm:pt modelId="{92F63B68-F7A6-440B-B39F-DE6C6DE00201}">
      <dgm:prSet phldrT="[Text]" custT="1"/>
      <dgm:spPr/>
      <dgm:t>
        <a:bodyPr/>
        <a:lstStyle/>
        <a:p>
          <a:r>
            <a:rPr lang="en-IN" sz="1400">
              <a:solidFill>
                <a:schemeClr val="bg1"/>
              </a:solidFill>
              <a:latin typeface="+mn-lt"/>
            </a:rPr>
            <a:t>KYC PROCESS</a:t>
          </a:r>
          <a:endParaRPr lang="en-IN" sz="1400" dirty="0">
            <a:solidFill>
              <a:schemeClr val="bg1"/>
            </a:solidFill>
          </a:endParaRPr>
        </a:p>
      </dgm:t>
    </dgm:pt>
    <dgm:pt modelId="{FEDEAEC0-A0B2-48EA-895C-38D1EC9FB2AB}" type="parTrans" cxnId="{AABD9EBB-9B5A-43B5-A29E-8025B7FFC733}">
      <dgm:prSet/>
      <dgm:spPr/>
      <dgm:t>
        <a:bodyPr/>
        <a:lstStyle/>
        <a:p>
          <a:endParaRPr lang="en-IN" sz="2400">
            <a:solidFill>
              <a:schemeClr val="bg1"/>
            </a:solidFill>
          </a:endParaRPr>
        </a:p>
      </dgm:t>
    </dgm:pt>
    <dgm:pt modelId="{670CB1F3-C70C-47EC-B435-27EAC4287613}" type="sibTrans" cxnId="{AABD9EBB-9B5A-43B5-A29E-8025B7FFC733}">
      <dgm:prSet/>
      <dgm:spPr/>
      <dgm:t>
        <a:bodyPr/>
        <a:lstStyle/>
        <a:p>
          <a:endParaRPr lang="en-IN" sz="2400">
            <a:solidFill>
              <a:schemeClr val="bg1"/>
            </a:solidFill>
          </a:endParaRPr>
        </a:p>
      </dgm:t>
    </dgm:pt>
    <dgm:pt modelId="{516C9605-C1FA-4DB2-B1E1-3C1075C3172A}">
      <dgm:prSet phldrT="[Text]" custT="1"/>
      <dgm:spPr/>
      <dgm:t>
        <a:bodyPr/>
        <a:lstStyle/>
        <a:p>
          <a:r>
            <a:rPr lang="en-IN" sz="1400">
              <a:solidFill>
                <a:schemeClr val="bg1"/>
              </a:solidFill>
            </a:rPr>
            <a:t>HOW TO CHECK PF BALANCE</a:t>
          </a:r>
        </a:p>
      </dgm:t>
    </dgm:pt>
    <dgm:pt modelId="{D275AAE4-E7DB-4EEC-8F09-4ADF4E144071}" type="parTrans" cxnId="{CE49C10B-59F5-40CB-87CA-5956E1BB2446}">
      <dgm:prSet/>
      <dgm:spPr/>
      <dgm:t>
        <a:bodyPr/>
        <a:lstStyle/>
        <a:p>
          <a:endParaRPr lang="en-IN" sz="2400">
            <a:solidFill>
              <a:schemeClr val="bg1"/>
            </a:solidFill>
          </a:endParaRPr>
        </a:p>
      </dgm:t>
    </dgm:pt>
    <dgm:pt modelId="{63E1CE9B-7BF6-4004-93DA-0FFBBA8C3219}" type="sibTrans" cxnId="{CE49C10B-59F5-40CB-87CA-5956E1BB2446}">
      <dgm:prSet/>
      <dgm:spPr/>
      <dgm:t>
        <a:bodyPr/>
        <a:lstStyle/>
        <a:p>
          <a:endParaRPr lang="en-IN" sz="2400">
            <a:solidFill>
              <a:schemeClr val="bg1"/>
            </a:solidFill>
          </a:endParaRPr>
        </a:p>
      </dgm:t>
    </dgm:pt>
    <dgm:pt modelId="{7D0CC0E3-7E27-4515-879C-1F2F4BF2187B}" type="pres">
      <dgm:prSet presAssocID="{2A60B107-0D38-45BD-85DA-3843EB7F7EFD}" presName="linear" presStyleCnt="0">
        <dgm:presLayoutVars>
          <dgm:animLvl val="lvl"/>
          <dgm:resizeHandles val="exact"/>
        </dgm:presLayoutVars>
      </dgm:prSet>
      <dgm:spPr/>
    </dgm:pt>
    <dgm:pt modelId="{CC9CFB68-E8EB-412E-9CB2-EB680AF25305}" type="pres">
      <dgm:prSet presAssocID="{D9EF59C1-61B2-4B7B-A5E1-5F424FEAB9BD}" presName="parentText" presStyleLbl="node1" presStyleIdx="0" presStyleCnt="3" custScaleY="57192">
        <dgm:presLayoutVars>
          <dgm:chMax val="0"/>
          <dgm:bulletEnabled val="1"/>
        </dgm:presLayoutVars>
      </dgm:prSet>
      <dgm:spPr/>
    </dgm:pt>
    <dgm:pt modelId="{1E1432E0-4500-447C-875D-3B00262484C7}" type="pres">
      <dgm:prSet presAssocID="{D9EF59C1-61B2-4B7B-A5E1-5F424FEAB9BD}" presName="childText" presStyleLbl="revTx" presStyleIdx="0" presStyleCnt="2" custScaleY="133192">
        <dgm:presLayoutVars>
          <dgm:bulletEnabled val="1"/>
        </dgm:presLayoutVars>
      </dgm:prSet>
      <dgm:spPr/>
    </dgm:pt>
    <dgm:pt modelId="{0D8715B3-87B2-428F-BEE7-4134996DC499}" type="pres">
      <dgm:prSet presAssocID="{F544E4BE-C273-4C66-B014-D3B48C70DBF7}" presName="parentText" presStyleLbl="node1" presStyleIdx="1" presStyleCnt="3" custScaleY="60440">
        <dgm:presLayoutVars>
          <dgm:chMax val="0"/>
          <dgm:bulletEnabled val="1"/>
        </dgm:presLayoutVars>
      </dgm:prSet>
      <dgm:spPr/>
    </dgm:pt>
    <dgm:pt modelId="{D3BABA57-8B28-4A0B-B2B7-EC983C5366DE}" type="pres">
      <dgm:prSet presAssocID="{F544E4BE-C273-4C66-B014-D3B48C70DBF7}" presName="childText" presStyleLbl="revTx" presStyleIdx="1" presStyleCnt="2">
        <dgm:presLayoutVars>
          <dgm:bulletEnabled val="1"/>
        </dgm:presLayoutVars>
      </dgm:prSet>
      <dgm:spPr/>
    </dgm:pt>
    <dgm:pt modelId="{77C79581-63EB-4598-B5C5-C05A3378B6D2}" type="pres">
      <dgm:prSet presAssocID="{1FFA9C4C-9289-4E1F-B28E-68192F9EF651}" presName="parentText" presStyleLbl="node1" presStyleIdx="2" presStyleCnt="3" custScaleY="53940">
        <dgm:presLayoutVars>
          <dgm:chMax val="0"/>
          <dgm:bulletEnabled val="1"/>
        </dgm:presLayoutVars>
      </dgm:prSet>
      <dgm:spPr/>
    </dgm:pt>
  </dgm:ptLst>
  <dgm:cxnLst>
    <dgm:cxn modelId="{0A776E09-4141-4FAA-B3D6-0055FAD19432}" srcId="{D9EF59C1-61B2-4B7B-A5E1-5F424FEAB9BD}" destId="{CEB2D988-8598-41D8-AD98-CF2DD2D78AD4}" srcOrd="2" destOrd="0" parTransId="{8616BB3D-4825-4644-A84C-92026B10F336}" sibTransId="{447C7A43-8B77-4E37-B840-B2E6063AC071}"/>
    <dgm:cxn modelId="{7339E809-9217-4A10-A9CB-8E0CCB2C797D}" srcId="{2A60B107-0D38-45BD-85DA-3843EB7F7EFD}" destId="{D9EF59C1-61B2-4B7B-A5E1-5F424FEAB9BD}" srcOrd="0" destOrd="0" parTransId="{EACAFADD-28E3-4094-8781-77A466F3F95E}" sibTransId="{A45F1146-9C93-41B7-9E44-2B292D16A34C}"/>
    <dgm:cxn modelId="{CE49C10B-59F5-40CB-87CA-5956E1BB2446}" srcId="{D9EF59C1-61B2-4B7B-A5E1-5F424FEAB9BD}" destId="{516C9605-C1FA-4DB2-B1E1-3C1075C3172A}" srcOrd="5" destOrd="0" parTransId="{D275AAE4-E7DB-4EEC-8F09-4ADF4E144071}" sibTransId="{63E1CE9B-7BF6-4004-93DA-0FFBBA8C3219}"/>
    <dgm:cxn modelId="{A54FBC12-270D-4680-8445-51F0FDAE6E74}" srcId="{D9EF59C1-61B2-4B7B-A5E1-5F424FEAB9BD}" destId="{9E0E4F06-6C91-4F47-8D73-373D7F5202AD}" srcOrd="0" destOrd="0" parTransId="{A024C7B1-D36A-447C-B841-4FA74A3BD327}" sibTransId="{0D481817-1CFC-43E2-88B1-39B23A85619B}"/>
    <dgm:cxn modelId="{27DD1018-70D7-4F0E-8EF2-BDA6354BF0B8}" type="presOf" srcId="{580EB28F-7ED6-4126-A450-ADAE2763D577}" destId="{1E1432E0-4500-447C-875D-3B00262484C7}" srcOrd="0" destOrd="6" presId="urn:microsoft.com/office/officeart/2005/8/layout/vList2"/>
    <dgm:cxn modelId="{527AE419-4FA4-4E86-B433-9145A8C48760}" type="presOf" srcId="{2A60B107-0D38-45BD-85DA-3843EB7F7EFD}" destId="{7D0CC0E3-7E27-4515-879C-1F2F4BF2187B}" srcOrd="0" destOrd="0" presId="urn:microsoft.com/office/officeart/2005/8/layout/vList2"/>
    <dgm:cxn modelId="{4CFC801C-69AF-4294-A25C-4D7B9F641A8E}" srcId="{F544E4BE-C273-4C66-B014-D3B48C70DBF7}" destId="{6E4450E4-DE7C-42A9-A6B6-D3BC6ABE5379}" srcOrd="0" destOrd="0" parTransId="{F37CD9C4-66A8-4E17-86A7-1DF19DC38653}" sibTransId="{28623F2E-3097-4899-82B5-3626271180B3}"/>
    <dgm:cxn modelId="{2B295730-1ECB-4355-AE07-A7495D17AA18}" type="presOf" srcId="{6E4450E4-DE7C-42A9-A6B6-D3BC6ABE5379}" destId="{D3BABA57-8B28-4A0B-B2B7-EC983C5366DE}" srcOrd="0" destOrd="0" presId="urn:microsoft.com/office/officeart/2005/8/layout/vList2"/>
    <dgm:cxn modelId="{499AAB37-B68A-4252-B3C7-11D8464CFCC4}" srcId="{F544E4BE-C273-4C66-B014-D3B48C70DBF7}" destId="{DE0E661B-88E4-4F29-8BE5-0988ADA50AE6}" srcOrd="1" destOrd="0" parTransId="{47E848F5-013B-45E9-ABD5-2F589354422B}" sibTransId="{77D5C6D2-AB00-4280-8B6A-DBB2855E5E52}"/>
    <dgm:cxn modelId="{DCB89568-E58E-4726-B64A-A06290FC75EF}" type="presOf" srcId="{92F63B68-F7A6-440B-B39F-DE6C6DE00201}" destId="{1E1432E0-4500-447C-875D-3B00262484C7}" srcOrd="0" destOrd="3" presId="urn:microsoft.com/office/officeart/2005/8/layout/vList2"/>
    <dgm:cxn modelId="{91ABB44A-2F36-4857-B651-2BDE35A399AB}" srcId="{D9EF59C1-61B2-4B7B-A5E1-5F424FEAB9BD}" destId="{27687260-C93E-4314-8963-8DDB040E5CD3}" srcOrd="1" destOrd="0" parTransId="{E74AD413-CEED-4550-9D28-F9318FEE66BB}" sibTransId="{89D00C64-1DB8-46F9-9788-7D49DD843F80}"/>
    <dgm:cxn modelId="{16E6344B-3016-4F77-9976-4F91336D6853}" srcId="{F544E4BE-C273-4C66-B014-D3B48C70DBF7}" destId="{AA4327C7-3D39-469A-BC02-B453BB34AF40}" srcOrd="2" destOrd="0" parTransId="{1181D534-1C12-4887-A2B3-EBC79DE07439}" sibTransId="{0E30A4FC-AA3B-4445-A4FC-222228F3CEB3}"/>
    <dgm:cxn modelId="{83726256-7156-4626-9659-B528DE4CA18A}" type="presOf" srcId="{F544E4BE-C273-4C66-B014-D3B48C70DBF7}" destId="{0D8715B3-87B2-428F-BEE7-4134996DC499}" srcOrd="0" destOrd="0" presId="urn:microsoft.com/office/officeart/2005/8/layout/vList2"/>
    <dgm:cxn modelId="{567F1882-B674-4E4C-8EA6-27DD77E4D199}" type="presOf" srcId="{DE0E661B-88E4-4F29-8BE5-0988ADA50AE6}" destId="{D3BABA57-8B28-4A0B-B2B7-EC983C5366DE}" srcOrd="0" destOrd="1" presId="urn:microsoft.com/office/officeart/2005/8/layout/vList2"/>
    <dgm:cxn modelId="{FA89E68B-B900-4015-8BFB-2CEA47A6E425}" srcId="{2A60B107-0D38-45BD-85DA-3843EB7F7EFD}" destId="{F544E4BE-C273-4C66-B014-D3B48C70DBF7}" srcOrd="1" destOrd="0" parTransId="{D01B8F2D-9992-4232-BC61-607AA8ED7CE1}" sibTransId="{33D04C32-5FB5-4104-80B3-5960BA03FFE5}"/>
    <dgm:cxn modelId="{8BFDF68C-E236-490D-BE7F-82878F1813DB}" srcId="{2A60B107-0D38-45BD-85DA-3843EB7F7EFD}" destId="{1FFA9C4C-9289-4E1F-B28E-68192F9EF651}" srcOrd="2" destOrd="0" parTransId="{FFC116F6-0353-4BBD-8497-41035B53A37D}" sibTransId="{3474DD33-7AA0-4358-B2E8-63D6507230C6}"/>
    <dgm:cxn modelId="{3CBCFBB1-9D34-4B4B-8690-D397A603BD66}" type="presOf" srcId="{54EE58F7-C61A-4455-A33A-213A6321FDB9}" destId="{1E1432E0-4500-447C-875D-3B00262484C7}" srcOrd="0" destOrd="7" presId="urn:microsoft.com/office/officeart/2005/8/layout/vList2"/>
    <dgm:cxn modelId="{3F57BCB3-9A6E-4258-8C89-34BC84E830A6}" type="presOf" srcId="{516C9605-C1FA-4DB2-B1E1-3C1075C3172A}" destId="{1E1432E0-4500-447C-875D-3B00262484C7}" srcOrd="0" destOrd="5" presId="urn:microsoft.com/office/officeart/2005/8/layout/vList2"/>
    <dgm:cxn modelId="{10620ABA-6DA5-4F9A-BF27-A8656409A2C8}" type="presOf" srcId="{CEB2D988-8598-41D8-AD98-CF2DD2D78AD4}" destId="{1E1432E0-4500-447C-875D-3B00262484C7}" srcOrd="0" destOrd="2" presId="urn:microsoft.com/office/officeart/2005/8/layout/vList2"/>
    <dgm:cxn modelId="{AABD9EBB-9B5A-43B5-A29E-8025B7FFC733}" srcId="{D9EF59C1-61B2-4B7B-A5E1-5F424FEAB9BD}" destId="{92F63B68-F7A6-440B-B39F-DE6C6DE00201}" srcOrd="3" destOrd="0" parTransId="{FEDEAEC0-A0B2-48EA-895C-38D1EC9FB2AB}" sibTransId="{670CB1F3-C70C-47EC-B435-27EAC4287613}"/>
    <dgm:cxn modelId="{224DD8BF-0830-4E9F-B878-428AE78C5186}" type="presOf" srcId="{27687260-C93E-4314-8963-8DDB040E5CD3}" destId="{1E1432E0-4500-447C-875D-3B00262484C7}" srcOrd="0" destOrd="1" presId="urn:microsoft.com/office/officeart/2005/8/layout/vList2"/>
    <dgm:cxn modelId="{ED4405CC-C2CB-49AE-B201-699477AB1778}" type="presOf" srcId="{D9EF59C1-61B2-4B7B-A5E1-5F424FEAB9BD}" destId="{CC9CFB68-E8EB-412E-9CB2-EB680AF25305}" srcOrd="0" destOrd="0" presId="urn:microsoft.com/office/officeart/2005/8/layout/vList2"/>
    <dgm:cxn modelId="{BE50BDCF-9451-4892-B4D9-0582D7A155DC}" srcId="{D9EF59C1-61B2-4B7B-A5E1-5F424FEAB9BD}" destId="{7376272C-1C94-4B4B-93E9-70F3B6983F68}" srcOrd="4" destOrd="0" parTransId="{0B3DA4C1-2653-414F-927B-1DCC66F9C036}" sibTransId="{F3B51FF8-A9E3-4ED9-B729-AC2B89EEA681}"/>
    <dgm:cxn modelId="{49EA76D6-C63B-45CD-8BBA-8807219F695C}" type="presOf" srcId="{7376272C-1C94-4B4B-93E9-70F3B6983F68}" destId="{1E1432E0-4500-447C-875D-3B00262484C7}" srcOrd="0" destOrd="4" presId="urn:microsoft.com/office/officeart/2005/8/layout/vList2"/>
    <dgm:cxn modelId="{7A96B5D7-0CE1-4319-BB92-40A5ABBB3C32}" srcId="{D9EF59C1-61B2-4B7B-A5E1-5F424FEAB9BD}" destId="{54EE58F7-C61A-4455-A33A-213A6321FDB9}" srcOrd="7" destOrd="0" parTransId="{AF785490-82BC-4F58-9532-841601DFD581}" sibTransId="{C08679E6-5726-477E-BDEB-99ACF92649DE}"/>
    <dgm:cxn modelId="{4AF720DA-1EA1-4823-9EA0-7454A08B624B}" type="presOf" srcId="{1FFA9C4C-9289-4E1F-B28E-68192F9EF651}" destId="{77C79581-63EB-4598-B5C5-C05A3378B6D2}" srcOrd="0" destOrd="0" presId="urn:microsoft.com/office/officeart/2005/8/layout/vList2"/>
    <dgm:cxn modelId="{468E01E8-3D67-4BDD-8883-520A2E69F303}" type="presOf" srcId="{9E0E4F06-6C91-4F47-8D73-373D7F5202AD}" destId="{1E1432E0-4500-447C-875D-3B00262484C7}" srcOrd="0" destOrd="0" presId="urn:microsoft.com/office/officeart/2005/8/layout/vList2"/>
    <dgm:cxn modelId="{E9FBCEF5-518E-4902-ABE0-EBD48E3B4B06}" type="presOf" srcId="{AA4327C7-3D39-469A-BC02-B453BB34AF40}" destId="{D3BABA57-8B28-4A0B-B2B7-EC983C5366DE}" srcOrd="0" destOrd="2" presId="urn:microsoft.com/office/officeart/2005/8/layout/vList2"/>
    <dgm:cxn modelId="{FC7F09FC-7709-4DF3-9C6C-E936F18F8E46}" srcId="{D9EF59C1-61B2-4B7B-A5E1-5F424FEAB9BD}" destId="{580EB28F-7ED6-4126-A450-ADAE2763D577}" srcOrd="6" destOrd="0" parTransId="{9EEFB0AD-F751-4CB7-AF5A-104B41C3BBD1}" sibTransId="{BE671894-0E0B-409D-97C7-67C40693AFDA}"/>
    <dgm:cxn modelId="{046707E8-E177-4F42-B332-67B0CD6510EC}" type="presParOf" srcId="{7D0CC0E3-7E27-4515-879C-1F2F4BF2187B}" destId="{CC9CFB68-E8EB-412E-9CB2-EB680AF25305}" srcOrd="0" destOrd="0" presId="urn:microsoft.com/office/officeart/2005/8/layout/vList2"/>
    <dgm:cxn modelId="{F780D69B-0C0E-4299-9D22-DA4EDAD9C638}" type="presParOf" srcId="{7D0CC0E3-7E27-4515-879C-1F2F4BF2187B}" destId="{1E1432E0-4500-447C-875D-3B00262484C7}" srcOrd="1" destOrd="0" presId="urn:microsoft.com/office/officeart/2005/8/layout/vList2"/>
    <dgm:cxn modelId="{F43B4536-F1AA-4CDA-968A-394CCAADE8A4}" type="presParOf" srcId="{7D0CC0E3-7E27-4515-879C-1F2F4BF2187B}" destId="{0D8715B3-87B2-428F-BEE7-4134996DC499}" srcOrd="2" destOrd="0" presId="urn:microsoft.com/office/officeart/2005/8/layout/vList2"/>
    <dgm:cxn modelId="{4788DE3A-A567-4473-8E9A-F31216E40909}" type="presParOf" srcId="{7D0CC0E3-7E27-4515-879C-1F2F4BF2187B}" destId="{D3BABA57-8B28-4A0B-B2B7-EC983C5366DE}" srcOrd="3" destOrd="0" presId="urn:microsoft.com/office/officeart/2005/8/layout/vList2"/>
    <dgm:cxn modelId="{EB49B5FB-8E72-4398-895B-266E8CF45801}" type="presParOf" srcId="{7D0CC0E3-7E27-4515-879C-1F2F4BF2187B}" destId="{77C79581-63EB-4598-B5C5-C05A3378B6D2}" srcOrd="4" destOrd="0" presId="urn:microsoft.com/office/officeart/2005/8/layout/vList2"/>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1FAD63-7771-4EE9-9AA4-775D030746C9}" type="doc">
      <dgm:prSet loTypeId="urn:microsoft.com/office/officeart/2005/8/layout/process3" loCatId="process" qsTypeId="urn:microsoft.com/office/officeart/2005/8/quickstyle/3d1" qsCatId="3D" csTypeId="urn:microsoft.com/office/officeart/2005/8/colors/accent0_3" csCatId="mainScheme" phldr="1"/>
      <dgm:spPr/>
      <dgm:t>
        <a:bodyPr/>
        <a:lstStyle/>
        <a:p>
          <a:endParaRPr lang="en-US"/>
        </a:p>
      </dgm:t>
    </dgm:pt>
    <dgm:pt modelId="{06C7009F-2647-4A8B-A76E-8B13BDDBE159}">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1</a:t>
          </a:r>
        </a:p>
      </dgm:t>
    </dgm:pt>
    <dgm:pt modelId="{D19E0085-3382-48E4-BED5-93DE8CF28087}" type="parTrans" cxnId="{1CFEF65D-3B3E-4AD6-AB86-1335DD65EF2A}">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F1A630EB-8FF7-4CEE-BDEF-029420620F9B}" type="sibTrans" cxnId="{1CFEF65D-3B3E-4AD6-AB86-1335DD65EF2A}">
      <dgm:prSet custT="1"/>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CDA51954-2D66-419A-B676-51D65AE58181}">
      <dgm:prSet phldrT="[Text]" custT="1"/>
      <dgm:spPr/>
      <dgm:t>
        <a:bodyPr/>
        <a:lstStyle/>
        <a:p>
          <a:r>
            <a:rPr lang="en-US" sz="1200" b="0" cap="none" spc="0">
              <a:ln w="0"/>
              <a:effectLst>
                <a:outerShdw blurRad="38100" dist="19050" dir="2700000" algn="tl" rotWithShape="0">
                  <a:schemeClr val="dk1">
                    <a:alpha val="40000"/>
                  </a:schemeClr>
                </a:outerShdw>
              </a:effectLst>
              <a:latin typeface="+mn-lt"/>
            </a:rPr>
            <a:t>Visit UAN based Member Portal</a:t>
          </a:r>
        </a:p>
      </dgm:t>
    </dgm:pt>
    <dgm:pt modelId="{EAD45766-8248-4E91-8A18-587D6B2C873B}" type="parTrans" cxnId="{C6A96705-1480-4D71-A585-37B7235D5F7A}">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FE294375-CE85-4B34-BD67-E6BB366C369A}" type="sibTrans" cxnId="{C6A96705-1480-4D71-A585-37B7235D5F7A}">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BFD32B52-6690-4B37-B0DF-C87A513466C1}">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2</a:t>
          </a:r>
        </a:p>
      </dgm:t>
    </dgm:pt>
    <dgm:pt modelId="{CB004E62-F056-4FC8-912C-69BA0F26BD6C}" type="parTrans" cxnId="{925F8715-955F-452A-AB8F-AC254BF8BEA4}">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FB267F8A-3B0C-4660-8F04-6148282D559B}" type="sibTrans" cxnId="{925F8715-955F-452A-AB8F-AC254BF8BEA4}">
      <dgm:prSet custT="1"/>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B76873EA-A280-45AC-844E-31CA439D7074}">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3</a:t>
          </a:r>
        </a:p>
      </dgm:t>
    </dgm:pt>
    <dgm:pt modelId="{966454AB-26BA-4043-B674-3584C8944D94}" type="parTrans" cxnId="{A4578959-99F6-41D8-A1E2-AED46865B7D3}">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6863903F-7D75-40A7-B63F-46FB440DB317}" type="sibTrans" cxnId="{A4578959-99F6-41D8-A1E2-AED46865B7D3}">
      <dgm:prSet custT="1"/>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C3EE08D2-B31E-4F12-A84C-E8255372EB1D}">
      <dgm:prSet phldrT="[Text]" custT="1"/>
      <dgm:spPr/>
      <dgm:t>
        <a:bodyPr/>
        <a:lstStyle/>
        <a:p>
          <a:r>
            <a:rPr lang="en-US" sz="1800" b="0" cap="none" spc="0">
              <a:ln w="0"/>
              <a:effectLst>
                <a:outerShdw blurRad="38100" dist="19050" dir="2700000" algn="tl" rotWithShape="0">
                  <a:schemeClr val="dk1">
                    <a:alpha val="40000"/>
                  </a:schemeClr>
                </a:outerShdw>
              </a:effectLst>
              <a:latin typeface="+mn-lt"/>
            </a:rPr>
            <a:t>4</a:t>
          </a:r>
        </a:p>
      </dgm:t>
    </dgm:pt>
    <dgm:pt modelId="{CAB0BA1D-5530-4036-971B-96EF5D43F92D}" type="parTrans" cxnId="{AF38EA25-428F-4191-A363-E37CB1220AD0}">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14B5FB85-E11F-4C88-A2B7-6A47B3B93EEC}" type="sibTrans" cxnId="{AF38EA25-428F-4191-A363-E37CB1220AD0}">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61484E6D-527D-434E-9C6D-E4D6D6FD480C}">
      <dgm:prSet custT="1"/>
      <dgm:spPr/>
      <dgm:t>
        <a:bodyPr/>
        <a:lstStyle/>
        <a:p>
          <a:r>
            <a:rPr lang="en-US" sz="1200" b="0" cap="none" spc="0">
              <a:ln w="0"/>
              <a:effectLst>
                <a:outerShdw blurRad="38100" dist="19050" dir="2700000" algn="tl" rotWithShape="0">
                  <a:schemeClr val="dk1">
                    <a:alpha val="40000"/>
                  </a:schemeClr>
                </a:outerShdw>
              </a:effectLst>
              <a:latin typeface="+mn-lt"/>
            </a:rPr>
            <a:t>Member will be directed to next page , where Member needs to enter UAN, Aadhaar Card no., Name, Date of Birth, Mobile No. &amp; the Captcha</a:t>
          </a:r>
        </a:p>
      </dgm:t>
    </dgm:pt>
    <dgm:pt modelId="{B5F0C3E4-82CA-4CFE-9C1E-377195924453}" type="parTrans" cxnId="{3EE2C3F0-77EE-4F27-9F2E-53509A90A865}">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679037E3-EB34-4713-B026-69105A03F9C1}" type="sibTrans" cxnId="{3EE2C3F0-77EE-4F27-9F2E-53509A90A865}">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AB09005B-DFFE-4EDC-AB90-F9C7DC1E386F}">
      <dgm:prSet custT="1"/>
      <dgm:spPr/>
      <dgm:t>
        <a:bodyPr/>
        <a:lstStyle/>
        <a:p>
          <a:r>
            <a:rPr lang="en-US" sz="1200" b="0" cap="none" spc="0" dirty="0">
              <a:ln w="0"/>
              <a:effectLst>
                <a:outerShdw blurRad="38100" dist="19050" dir="2700000" algn="tl" rotWithShape="0">
                  <a:schemeClr val="dk1">
                    <a:alpha val="40000"/>
                  </a:schemeClr>
                </a:outerShdw>
              </a:effectLst>
              <a:latin typeface="+mn-lt"/>
            </a:rPr>
            <a:t>Click on the checkbox provided on the screen &amp; then on ‘Get Authorization Pin’, accordingly Pin will be sent to the given Mobile Number of the Member. Enter the Pin &amp;validate it. </a:t>
          </a:r>
        </a:p>
      </dgm:t>
    </dgm:pt>
    <dgm:pt modelId="{D52D99D8-4AF9-47F9-814B-728268EAE02B}" type="parTrans" cxnId="{E9FEAB41-86C4-4B13-8411-4A2C3565511E}">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08445EEF-F350-473A-8C9C-E2B26628804A}" type="sibTrans" cxnId="{E9FEAB41-86C4-4B13-8411-4A2C3565511E}">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7A88D131-F754-4018-800C-7EAFAAF4D099}">
      <dgm:prSet custT="1"/>
      <dgm:spPr/>
      <dgm:t>
        <a:bodyPr/>
        <a:lstStyle/>
        <a:p>
          <a:r>
            <a:rPr lang="en-US" sz="1200" b="0" cap="none" spc="0">
              <a:ln w="0"/>
              <a:effectLst>
                <a:outerShdw blurRad="38100" dist="19050" dir="2700000" algn="tl" rotWithShape="0">
                  <a:schemeClr val="dk1">
                    <a:alpha val="40000"/>
                  </a:schemeClr>
                </a:outerShdw>
              </a:effectLst>
              <a:latin typeface="+mn-lt"/>
            </a:rPr>
            <a:t>Click on ‘Activate UAN’ Button. Accordingly, UAN will be activated, Member will receive a password on registered mobile number which will be used for accessing your UAN account.</a:t>
          </a:r>
        </a:p>
      </dgm:t>
    </dgm:pt>
    <dgm:pt modelId="{496E6EE2-C673-4964-BBE5-A9D51F34C2B7}" type="parTrans" cxnId="{960CA12B-DA33-451D-89FC-D0D776CFEBA1}">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00740E57-6DF5-4D36-88C3-8B5547D800FE}" type="sibTrans" cxnId="{960CA12B-DA33-451D-89FC-D0D776CFEBA1}">
      <dgm:prSet/>
      <dgm:spPr/>
      <dgm:t>
        <a:bodyPr/>
        <a:lstStyle/>
        <a:p>
          <a:endParaRPr lang="en-US" sz="1200" b="0" cap="none" spc="0">
            <a:ln w="0"/>
            <a:solidFill>
              <a:schemeClr val="tx1"/>
            </a:solidFill>
            <a:effectLst>
              <a:outerShdw blurRad="38100" dist="19050" dir="2700000" algn="tl" rotWithShape="0">
                <a:schemeClr val="dk1">
                  <a:alpha val="40000"/>
                </a:schemeClr>
              </a:outerShdw>
            </a:effectLst>
            <a:latin typeface="+mn-lt"/>
          </a:endParaRPr>
        </a:p>
      </dgm:t>
    </dgm:pt>
    <dgm:pt modelId="{1D9EC6F1-E99F-439A-90CF-CD0158BA29E8}">
      <dgm:prSet phldrT="[Text]" custT="1"/>
      <dgm:spPr/>
      <dgm:t>
        <a:bodyPr/>
        <a:lstStyle/>
        <a:p>
          <a:r>
            <a:rPr lang="en-US" sz="1200" b="0" cap="none" spc="0">
              <a:ln w="0"/>
              <a:effectLst>
                <a:outerShdw blurRad="38100" dist="19050" dir="2700000" algn="tl" rotWithShape="0">
                  <a:schemeClr val="dk1">
                    <a:alpha val="40000"/>
                  </a:schemeClr>
                </a:outerShdw>
              </a:effectLst>
              <a:latin typeface="+mn-lt"/>
            </a:rPr>
            <a:t>Click on “Activate UAN” under Important Links</a:t>
          </a:r>
          <a:endParaRPr lang="en-US" sz="1200" b="0" cap="none" spc="0" dirty="0">
            <a:ln w="0"/>
            <a:effectLst>
              <a:outerShdw blurRad="38100" dist="19050" dir="2700000" algn="tl" rotWithShape="0">
                <a:schemeClr val="dk1">
                  <a:alpha val="40000"/>
                </a:schemeClr>
              </a:outerShdw>
            </a:effectLst>
            <a:latin typeface="+mn-lt"/>
          </a:endParaRPr>
        </a:p>
      </dgm:t>
    </dgm:pt>
    <dgm:pt modelId="{FDB3471F-AD4E-43FE-9A95-257DFABD4C22}" type="parTrans" cxnId="{3CE72B26-1EBE-4342-816D-64A08BD105C2}">
      <dgm:prSet/>
      <dgm:spPr/>
      <dgm:t>
        <a:bodyPr/>
        <a:lstStyle/>
        <a:p>
          <a:endParaRPr lang="en-IN" sz="2000" b="0" cap="none" spc="0">
            <a:ln w="0"/>
            <a:solidFill>
              <a:schemeClr val="tx1"/>
            </a:solidFill>
            <a:effectLst>
              <a:outerShdw blurRad="38100" dist="19050" dir="2700000" algn="tl" rotWithShape="0">
                <a:schemeClr val="dk1">
                  <a:alpha val="40000"/>
                </a:schemeClr>
              </a:outerShdw>
            </a:effectLst>
          </a:endParaRPr>
        </a:p>
      </dgm:t>
    </dgm:pt>
    <dgm:pt modelId="{D5BAC047-07AB-4E26-A39A-0B0A025BB14B}" type="sibTrans" cxnId="{3CE72B26-1EBE-4342-816D-64A08BD105C2}">
      <dgm:prSet/>
      <dgm:spPr/>
      <dgm:t>
        <a:bodyPr/>
        <a:lstStyle/>
        <a:p>
          <a:endParaRPr lang="en-IN" sz="2000" b="0" cap="none" spc="0">
            <a:ln w="0"/>
            <a:solidFill>
              <a:schemeClr val="tx1"/>
            </a:solidFill>
            <a:effectLst>
              <a:outerShdw blurRad="38100" dist="19050" dir="2700000" algn="tl" rotWithShape="0">
                <a:schemeClr val="dk1">
                  <a:alpha val="40000"/>
                </a:schemeClr>
              </a:outerShdw>
            </a:effectLst>
          </a:endParaRPr>
        </a:p>
      </dgm:t>
    </dgm:pt>
    <dgm:pt modelId="{835F86C7-0D8C-41E2-9AD7-103E0E34AF1B}" type="pres">
      <dgm:prSet presAssocID="{EA1FAD63-7771-4EE9-9AA4-775D030746C9}" presName="linearFlow" presStyleCnt="0">
        <dgm:presLayoutVars>
          <dgm:dir/>
          <dgm:animLvl val="lvl"/>
          <dgm:resizeHandles val="exact"/>
        </dgm:presLayoutVars>
      </dgm:prSet>
      <dgm:spPr/>
    </dgm:pt>
    <dgm:pt modelId="{0C611854-AEBA-48A9-B061-EAEC6D54715F}" type="pres">
      <dgm:prSet presAssocID="{06C7009F-2647-4A8B-A76E-8B13BDDBE159}" presName="composite" presStyleCnt="0"/>
      <dgm:spPr/>
    </dgm:pt>
    <dgm:pt modelId="{BB03A4DC-A49B-4B15-8203-030E8C6BCDD7}" type="pres">
      <dgm:prSet presAssocID="{06C7009F-2647-4A8B-A76E-8B13BDDBE159}" presName="parTx" presStyleLbl="node1" presStyleIdx="0" presStyleCnt="4">
        <dgm:presLayoutVars>
          <dgm:chMax val="0"/>
          <dgm:chPref val="0"/>
          <dgm:bulletEnabled val="1"/>
        </dgm:presLayoutVars>
      </dgm:prSet>
      <dgm:spPr/>
    </dgm:pt>
    <dgm:pt modelId="{7BF9EEE5-6B24-4F06-A296-4EA66A90F6D5}" type="pres">
      <dgm:prSet presAssocID="{06C7009F-2647-4A8B-A76E-8B13BDDBE159}" presName="parSh" presStyleLbl="node1" presStyleIdx="0" presStyleCnt="4"/>
      <dgm:spPr/>
    </dgm:pt>
    <dgm:pt modelId="{A2793502-ED80-4EB2-82C5-6A4F521F4B5B}" type="pres">
      <dgm:prSet presAssocID="{06C7009F-2647-4A8B-A76E-8B13BDDBE159}" presName="desTx" presStyleLbl="fgAcc1" presStyleIdx="0" presStyleCnt="4">
        <dgm:presLayoutVars>
          <dgm:bulletEnabled val="1"/>
        </dgm:presLayoutVars>
      </dgm:prSet>
      <dgm:spPr/>
    </dgm:pt>
    <dgm:pt modelId="{FB25B362-5BEB-4999-81A2-C189A3EE587A}" type="pres">
      <dgm:prSet presAssocID="{F1A630EB-8FF7-4CEE-BDEF-029420620F9B}" presName="sibTrans" presStyleLbl="sibTrans2D1" presStyleIdx="0" presStyleCnt="3"/>
      <dgm:spPr/>
    </dgm:pt>
    <dgm:pt modelId="{784C9B77-ECB1-4EAF-8B4C-674F003FEFD1}" type="pres">
      <dgm:prSet presAssocID="{F1A630EB-8FF7-4CEE-BDEF-029420620F9B}" presName="connTx" presStyleLbl="sibTrans2D1" presStyleIdx="0" presStyleCnt="3"/>
      <dgm:spPr/>
    </dgm:pt>
    <dgm:pt modelId="{D8A159BF-19D8-4F30-86A1-993A18615DD5}" type="pres">
      <dgm:prSet presAssocID="{BFD32B52-6690-4B37-B0DF-C87A513466C1}" presName="composite" presStyleCnt="0"/>
      <dgm:spPr/>
    </dgm:pt>
    <dgm:pt modelId="{F1163DCA-EEA9-4179-A690-886958C383D1}" type="pres">
      <dgm:prSet presAssocID="{BFD32B52-6690-4B37-B0DF-C87A513466C1}" presName="parTx" presStyleLbl="node1" presStyleIdx="0" presStyleCnt="4">
        <dgm:presLayoutVars>
          <dgm:chMax val="0"/>
          <dgm:chPref val="0"/>
          <dgm:bulletEnabled val="1"/>
        </dgm:presLayoutVars>
      </dgm:prSet>
      <dgm:spPr/>
    </dgm:pt>
    <dgm:pt modelId="{81F103F1-5779-4D41-9796-054D395DE0D2}" type="pres">
      <dgm:prSet presAssocID="{BFD32B52-6690-4B37-B0DF-C87A513466C1}" presName="parSh" presStyleLbl="node1" presStyleIdx="1" presStyleCnt="4"/>
      <dgm:spPr/>
    </dgm:pt>
    <dgm:pt modelId="{1D1E4DB7-B37F-4840-ADFF-4E4EAFC60A9B}" type="pres">
      <dgm:prSet presAssocID="{BFD32B52-6690-4B37-B0DF-C87A513466C1}" presName="desTx" presStyleLbl="fgAcc1" presStyleIdx="1" presStyleCnt="4">
        <dgm:presLayoutVars>
          <dgm:bulletEnabled val="1"/>
        </dgm:presLayoutVars>
      </dgm:prSet>
      <dgm:spPr/>
    </dgm:pt>
    <dgm:pt modelId="{4A5964C4-BDC9-4F48-B5A8-3670F2AB9883}" type="pres">
      <dgm:prSet presAssocID="{FB267F8A-3B0C-4660-8F04-6148282D559B}" presName="sibTrans" presStyleLbl="sibTrans2D1" presStyleIdx="1" presStyleCnt="3"/>
      <dgm:spPr/>
    </dgm:pt>
    <dgm:pt modelId="{654D9787-1386-4C86-ADE6-22E8B3555AE6}" type="pres">
      <dgm:prSet presAssocID="{FB267F8A-3B0C-4660-8F04-6148282D559B}" presName="connTx" presStyleLbl="sibTrans2D1" presStyleIdx="1" presStyleCnt="3"/>
      <dgm:spPr/>
    </dgm:pt>
    <dgm:pt modelId="{83C37E25-6B99-42A9-B7DD-F95948BCDF32}" type="pres">
      <dgm:prSet presAssocID="{B76873EA-A280-45AC-844E-31CA439D7074}" presName="composite" presStyleCnt="0"/>
      <dgm:spPr/>
    </dgm:pt>
    <dgm:pt modelId="{491F9F3F-4AD3-44D2-9499-996A6A5140D8}" type="pres">
      <dgm:prSet presAssocID="{B76873EA-A280-45AC-844E-31CA439D7074}" presName="parTx" presStyleLbl="node1" presStyleIdx="1" presStyleCnt="4">
        <dgm:presLayoutVars>
          <dgm:chMax val="0"/>
          <dgm:chPref val="0"/>
          <dgm:bulletEnabled val="1"/>
        </dgm:presLayoutVars>
      </dgm:prSet>
      <dgm:spPr/>
    </dgm:pt>
    <dgm:pt modelId="{49C2CB4F-9658-4A04-B539-36C57348A2E2}" type="pres">
      <dgm:prSet presAssocID="{B76873EA-A280-45AC-844E-31CA439D7074}" presName="parSh" presStyleLbl="node1" presStyleIdx="2" presStyleCnt="4"/>
      <dgm:spPr/>
    </dgm:pt>
    <dgm:pt modelId="{9DAFAD65-5E8F-4C0F-B098-E20A6C04F162}" type="pres">
      <dgm:prSet presAssocID="{B76873EA-A280-45AC-844E-31CA439D7074}" presName="desTx" presStyleLbl="fgAcc1" presStyleIdx="2" presStyleCnt="4">
        <dgm:presLayoutVars>
          <dgm:bulletEnabled val="1"/>
        </dgm:presLayoutVars>
      </dgm:prSet>
      <dgm:spPr/>
    </dgm:pt>
    <dgm:pt modelId="{7B4B866C-B1D5-45BD-A612-03A16DBA979F}" type="pres">
      <dgm:prSet presAssocID="{6863903F-7D75-40A7-B63F-46FB440DB317}" presName="sibTrans" presStyleLbl="sibTrans2D1" presStyleIdx="2" presStyleCnt="3"/>
      <dgm:spPr/>
    </dgm:pt>
    <dgm:pt modelId="{B7FCB7E2-3128-4B0F-B7DE-5FDFBC787EF8}" type="pres">
      <dgm:prSet presAssocID="{6863903F-7D75-40A7-B63F-46FB440DB317}" presName="connTx" presStyleLbl="sibTrans2D1" presStyleIdx="2" presStyleCnt="3"/>
      <dgm:spPr/>
    </dgm:pt>
    <dgm:pt modelId="{1A850F20-D55C-444F-AA40-3578BB32FAA7}" type="pres">
      <dgm:prSet presAssocID="{C3EE08D2-B31E-4F12-A84C-E8255372EB1D}" presName="composite" presStyleCnt="0"/>
      <dgm:spPr/>
    </dgm:pt>
    <dgm:pt modelId="{2929BF3D-FEE7-446C-8D30-C05335623E22}" type="pres">
      <dgm:prSet presAssocID="{C3EE08D2-B31E-4F12-A84C-E8255372EB1D}" presName="parTx" presStyleLbl="node1" presStyleIdx="2" presStyleCnt="4">
        <dgm:presLayoutVars>
          <dgm:chMax val="0"/>
          <dgm:chPref val="0"/>
          <dgm:bulletEnabled val="1"/>
        </dgm:presLayoutVars>
      </dgm:prSet>
      <dgm:spPr/>
    </dgm:pt>
    <dgm:pt modelId="{749F7D48-2812-448C-A7A7-18BC985A2049}" type="pres">
      <dgm:prSet presAssocID="{C3EE08D2-B31E-4F12-A84C-E8255372EB1D}" presName="parSh" presStyleLbl="node1" presStyleIdx="3" presStyleCnt="4"/>
      <dgm:spPr/>
    </dgm:pt>
    <dgm:pt modelId="{E12A7C1F-D6A9-4503-885A-012D534E4BE4}" type="pres">
      <dgm:prSet presAssocID="{C3EE08D2-B31E-4F12-A84C-E8255372EB1D}" presName="desTx" presStyleLbl="fgAcc1" presStyleIdx="3" presStyleCnt="4">
        <dgm:presLayoutVars>
          <dgm:bulletEnabled val="1"/>
        </dgm:presLayoutVars>
      </dgm:prSet>
      <dgm:spPr/>
    </dgm:pt>
  </dgm:ptLst>
  <dgm:cxnLst>
    <dgm:cxn modelId="{C6A96705-1480-4D71-A585-37B7235D5F7A}" srcId="{06C7009F-2647-4A8B-A76E-8B13BDDBE159}" destId="{CDA51954-2D66-419A-B676-51D65AE58181}" srcOrd="0" destOrd="0" parTransId="{EAD45766-8248-4E91-8A18-587D6B2C873B}" sibTransId="{FE294375-CE85-4B34-BD67-E6BB366C369A}"/>
    <dgm:cxn modelId="{925F8715-955F-452A-AB8F-AC254BF8BEA4}" srcId="{EA1FAD63-7771-4EE9-9AA4-775D030746C9}" destId="{BFD32B52-6690-4B37-B0DF-C87A513466C1}" srcOrd="1" destOrd="0" parTransId="{CB004E62-F056-4FC8-912C-69BA0F26BD6C}" sibTransId="{FB267F8A-3B0C-4660-8F04-6148282D559B}"/>
    <dgm:cxn modelId="{AF38EA25-428F-4191-A363-E37CB1220AD0}" srcId="{EA1FAD63-7771-4EE9-9AA4-775D030746C9}" destId="{C3EE08D2-B31E-4F12-A84C-E8255372EB1D}" srcOrd="3" destOrd="0" parTransId="{CAB0BA1D-5530-4036-971B-96EF5D43F92D}" sibTransId="{14B5FB85-E11F-4C88-A2B7-6A47B3B93EEC}"/>
    <dgm:cxn modelId="{3CE72B26-1EBE-4342-816D-64A08BD105C2}" srcId="{06C7009F-2647-4A8B-A76E-8B13BDDBE159}" destId="{1D9EC6F1-E99F-439A-90CF-CD0158BA29E8}" srcOrd="1" destOrd="0" parTransId="{FDB3471F-AD4E-43FE-9A95-257DFABD4C22}" sibTransId="{D5BAC047-07AB-4E26-A39A-0B0A025BB14B}"/>
    <dgm:cxn modelId="{32196E2B-3397-4F45-A53E-66B9B6DE74FB}" type="presOf" srcId="{06C7009F-2647-4A8B-A76E-8B13BDDBE159}" destId="{BB03A4DC-A49B-4B15-8203-030E8C6BCDD7}" srcOrd="0" destOrd="0" presId="urn:microsoft.com/office/officeart/2005/8/layout/process3"/>
    <dgm:cxn modelId="{960CA12B-DA33-451D-89FC-D0D776CFEBA1}" srcId="{C3EE08D2-B31E-4F12-A84C-E8255372EB1D}" destId="{7A88D131-F754-4018-800C-7EAFAAF4D099}" srcOrd="0" destOrd="0" parTransId="{496E6EE2-C673-4964-BBE5-A9D51F34C2B7}" sibTransId="{00740E57-6DF5-4D36-88C3-8B5547D800FE}"/>
    <dgm:cxn modelId="{58D6DF2D-171A-4DD0-896E-8CE4875DB62B}" type="presOf" srcId="{BFD32B52-6690-4B37-B0DF-C87A513466C1}" destId="{F1163DCA-EEA9-4179-A690-886958C383D1}" srcOrd="0" destOrd="0" presId="urn:microsoft.com/office/officeart/2005/8/layout/process3"/>
    <dgm:cxn modelId="{1CFEF65D-3B3E-4AD6-AB86-1335DD65EF2A}" srcId="{EA1FAD63-7771-4EE9-9AA4-775D030746C9}" destId="{06C7009F-2647-4A8B-A76E-8B13BDDBE159}" srcOrd="0" destOrd="0" parTransId="{D19E0085-3382-48E4-BED5-93DE8CF28087}" sibTransId="{F1A630EB-8FF7-4CEE-BDEF-029420620F9B}"/>
    <dgm:cxn modelId="{E9FEAB41-86C4-4B13-8411-4A2C3565511E}" srcId="{B76873EA-A280-45AC-844E-31CA439D7074}" destId="{AB09005B-DFFE-4EDC-AB90-F9C7DC1E386F}" srcOrd="0" destOrd="0" parTransId="{D52D99D8-4AF9-47F9-814B-728268EAE02B}" sibTransId="{08445EEF-F350-473A-8C9C-E2B26628804A}"/>
    <dgm:cxn modelId="{4BD40F48-3BDD-4967-B855-AF120ED73EE0}" type="presOf" srcId="{FB267F8A-3B0C-4660-8F04-6148282D559B}" destId="{4A5964C4-BDC9-4F48-B5A8-3670F2AB9883}" srcOrd="0" destOrd="0" presId="urn:microsoft.com/office/officeart/2005/8/layout/process3"/>
    <dgm:cxn modelId="{B9636C6A-A764-461C-87EF-262D100522B1}" type="presOf" srcId="{61484E6D-527D-434E-9C6D-E4D6D6FD480C}" destId="{1D1E4DB7-B37F-4840-ADFF-4E4EAFC60A9B}" srcOrd="0" destOrd="0" presId="urn:microsoft.com/office/officeart/2005/8/layout/process3"/>
    <dgm:cxn modelId="{4A737051-9FC8-4F26-8A21-2442F242D77E}" type="presOf" srcId="{F1A630EB-8FF7-4CEE-BDEF-029420620F9B}" destId="{FB25B362-5BEB-4999-81A2-C189A3EE587A}" srcOrd="0" destOrd="0" presId="urn:microsoft.com/office/officeart/2005/8/layout/process3"/>
    <dgm:cxn modelId="{92BCC951-80F7-4C0A-9D10-2046D52E1E5D}" type="presOf" srcId="{F1A630EB-8FF7-4CEE-BDEF-029420620F9B}" destId="{784C9B77-ECB1-4EAF-8B4C-674F003FEFD1}" srcOrd="1" destOrd="0" presId="urn:microsoft.com/office/officeart/2005/8/layout/process3"/>
    <dgm:cxn modelId="{2AD1A677-5B8C-4AA5-81CD-B8ECAF298E3F}" type="presOf" srcId="{C3EE08D2-B31E-4F12-A84C-E8255372EB1D}" destId="{749F7D48-2812-448C-A7A7-18BC985A2049}" srcOrd="1" destOrd="0" presId="urn:microsoft.com/office/officeart/2005/8/layout/process3"/>
    <dgm:cxn modelId="{A4578959-99F6-41D8-A1E2-AED46865B7D3}" srcId="{EA1FAD63-7771-4EE9-9AA4-775D030746C9}" destId="{B76873EA-A280-45AC-844E-31CA439D7074}" srcOrd="2" destOrd="0" parTransId="{966454AB-26BA-4043-B674-3584C8944D94}" sibTransId="{6863903F-7D75-40A7-B63F-46FB440DB317}"/>
    <dgm:cxn modelId="{5ECD9480-A4DD-4779-9CDE-2397FFB408AD}" type="presOf" srcId="{06C7009F-2647-4A8B-A76E-8B13BDDBE159}" destId="{7BF9EEE5-6B24-4F06-A296-4EA66A90F6D5}" srcOrd="1" destOrd="0" presId="urn:microsoft.com/office/officeart/2005/8/layout/process3"/>
    <dgm:cxn modelId="{77661D89-BF4C-47AC-B292-C9D5737821AA}" type="presOf" srcId="{B76873EA-A280-45AC-844E-31CA439D7074}" destId="{49C2CB4F-9658-4A04-B539-36C57348A2E2}" srcOrd="1" destOrd="0" presId="urn:microsoft.com/office/officeart/2005/8/layout/process3"/>
    <dgm:cxn modelId="{4B4F1F8E-D201-41B8-AF68-375A62AEE2E4}" type="presOf" srcId="{FB267F8A-3B0C-4660-8F04-6148282D559B}" destId="{654D9787-1386-4C86-ADE6-22E8B3555AE6}" srcOrd="1" destOrd="0" presId="urn:microsoft.com/office/officeart/2005/8/layout/process3"/>
    <dgm:cxn modelId="{34DEEA98-E75B-4B2B-B105-698A802836D0}" type="presOf" srcId="{AB09005B-DFFE-4EDC-AB90-F9C7DC1E386F}" destId="{9DAFAD65-5E8F-4C0F-B098-E20A6C04F162}" srcOrd="0" destOrd="0" presId="urn:microsoft.com/office/officeart/2005/8/layout/process3"/>
    <dgm:cxn modelId="{8282F89C-70E8-46BB-B983-4558E5E89CF8}" type="presOf" srcId="{1D9EC6F1-E99F-439A-90CF-CD0158BA29E8}" destId="{A2793502-ED80-4EB2-82C5-6A4F521F4B5B}" srcOrd="0" destOrd="1" presId="urn:microsoft.com/office/officeart/2005/8/layout/process3"/>
    <dgm:cxn modelId="{22F7B6A2-1E84-4655-9F12-85D5C848F17A}" type="presOf" srcId="{6863903F-7D75-40A7-B63F-46FB440DB317}" destId="{7B4B866C-B1D5-45BD-A612-03A16DBA979F}" srcOrd="0" destOrd="0" presId="urn:microsoft.com/office/officeart/2005/8/layout/process3"/>
    <dgm:cxn modelId="{F07673A4-47E3-4A62-BF29-F295584D52E5}" type="presOf" srcId="{BFD32B52-6690-4B37-B0DF-C87A513466C1}" destId="{81F103F1-5779-4D41-9796-054D395DE0D2}" srcOrd="1" destOrd="0" presId="urn:microsoft.com/office/officeart/2005/8/layout/process3"/>
    <dgm:cxn modelId="{B9891DA8-8502-409D-9162-117FC69B3904}" type="presOf" srcId="{6863903F-7D75-40A7-B63F-46FB440DB317}" destId="{B7FCB7E2-3128-4B0F-B7DE-5FDFBC787EF8}" srcOrd="1" destOrd="0" presId="urn:microsoft.com/office/officeart/2005/8/layout/process3"/>
    <dgm:cxn modelId="{8258EEB2-A3F9-41E8-AA17-4A610BFC0191}" type="presOf" srcId="{CDA51954-2D66-419A-B676-51D65AE58181}" destId="{A2793502-ED80-4EB2-82C5-6A4F521F4B5B}" srcOrd="0" destOrd="0" presId="urn:microsoft.com/office/officeart/2005/8/layout/process3"/>
    <dgm:cxn modelId="{D59ED0BA-B4F2-447D-A2F8-E2BA7DFE6E53}" type="presOf" srcId="{EA1FAD63-7771-4EE9-9AA4-775D030746C9}" destId="{835F86C7-0D8C-41E2-9AD7-103E0E34AF1B}" srcOrd="0" destOrd="0" presId="urn:microsoft.com/office/officeart/2005/8/layout/process3"/>
    <dgm:cxn modelId="{E52F54D1-EF92-4E68-AFD9-796A9408A061}" type="presOf" srcId="{B76873EA-A280-45AC-844E-31CA439D7074}" destId="{491F9F3F-4AD3-44D2-9499-996A6A5140D8}" srcOrd="0" destOrd="0" presId="urn:microsoft.com/office/officeart/2005/8/layout/process3"/>
    <dgm:cxn modelId="{3EE2C3F0-77EE-4F27-9F2E-53509A90A865}" srcId="{BFD32B52-6690-4B37-B0DF-C87A513466C1}" destId="{61484E6D-527D-434E-9C6D-E4D6D6FD480C}" srcOrd="0" destOrd="0" parTransId="{B5F0C3E4-82CA-4CFE-9C1E-377195924453}" sibTransId="{679037E3-EB34-4713-B026-69105A03F9C1}"/>
    <dgm:cxn modelId="{1DA7C0FB-B46B-4840-84BE-511FCF5C61FD}" type="presOf" srcId="{7A88D131-F754-4018-800C-7EAFAAF4D099}" destId="{E12A7C1F-D6A9-4503-885A-012D534E4BE4}" srcOrd="0" destOrd="0" presId="urn:microsoft.com/office/officeart/2005/8/layout/process3"/>
    <dgm:cxn modelId="{72667CFD-6F9D-4D70-B09B-7977BF429382}" type="presOf" srcId="{C3EE08D2-B31E-4F12-A84C-E8255372EB1D}" destId="{2929BF3D-FEE7-446C-8D30-C05335623E22}" srcOrd="0" destOrd="0" presId="urn:microsoft.com/office/officeart/2005/8/layout/process3"/>
    <dgm:cxn modelId="{708DC6DE-F800-4407-8043-D2A3A75C6860}" type="presParOf" srcId="{835F86C7-0D8C-41E2-9AD7-103E0E34AF1B}" destId="{0C611854-AEBA-48A9-B061-EAEC6D54715F}" srcOrd="0" destOrd="0" presId="urn:microsoft.com/office/officeart/2005/8/layout/process3"/>
    <dgm:cxn modelId="{1B77C6D4-BA3B-4659-B9B7-165C84051A05}" type="presParOf" srcId="{0C611854-AEBA-48A9-B061-EAEC6D54715F}" destId="{BB03A4DC-A49B-4B15-8203-030E8C6BCDD7}" srcOrd="0" destOrd="0" presId="urn:microsoft.com/office/officeart/2005/8/layout/process3"/>
    <dgm:cxn modelId="{2A2D4E8C-0619-49EB-8C29-275C4916324C}" type="presParOf" srcId="{0C611854-AEBA-48A9-B061-EAEC6D54715F}" destId="{7BF9EEE5-6B24-4F06-A296-4EA66A90F6D5}" srcOrd="1" destOrd="0" presId="urn:microsoft.com/office/officeart/2005/8/layout/process3"/>
    <dgm:cxn modelId="{DC2C0278-9E3F-4E7E-841E-481CF517197A}" type="presParOf" srcId="{0C611854-AEBA-48A9-B061-EAEC6D54715F}" destId="{A2793502-ED80-4EB2-82C5-6A4F521F4B5B}" srcOrd="2" destOrd="0" presId="urn:microsoft.com/office/officeart/2005/8/layout/process3"/>
    <dgm:cxn modelId="{F8BA7EAD-8B3E-492C-AA79-B2A926ECF287}" type="presParOf" srcId="{835F86C7-0D8C-41E2-9AD7-103E0E34AF1B}" destId="{FB25B362-5BEB-4999-81A2-C189A3EE587A}" srcOrd="1" destOrd="0" presId="urn:microsoft.com/office/officeart/2005/8/layout/process3"/>
    <dgm:cxn modelId="{6AEE100F-3EF5-4667-B791-D30AF4E83E95}" type="presParOf" srcId="{FB25B362-5BEB-4999-81A2-C189A3EE587A}" destId="{784C9B77-ECB1-4EAF-8B4C-674F003FEFD1}" srcOrd="0" destOrd="0" presId="urn:microsoft.com/office/officeart/2005/8/layout/process3"/>
    <dgm:cxn modelId="{52C8600E-4064-411F-B566-3E8292F4CA64}" type="presParOf" srcId="{835F86C7-0D8C-41E2-9AD7-103E0E34AF1B}" destId="{D8A159BF-19D8-4F30-86A1-993A18615DD5}" srcOrd="2" destOrd="0" presId="urn:microsoft.com/office/officeart/2005/8/layout/process3"/>
    <dgm:cxn modelId="{1873588E-3131-492F-8A02-108BBCF696BF}" type="presParOf" srcId="{D8A159BF-19D8-4F30-86A1-993A18615DD5}" destId="{F1163DCA-EEA9-4179-A690-886958C383D1}" srcOrd="0" destOrd="0" presId="urn:microsoft.com/office/officeart/2005/8/layout/process3"/>
    <dgm:cxn modelId="{416AA98E-520E-4B9F-BFFB-44251819F076}" type="presParOf" srcId="{D8A159BF-19D8-4F30-86A1-993A18615DD5}" destId="{81F103F1-5779-4D41-9796-054D395DE0D2}" srcOrd="1" destOrd="0" presId="urn:microsoft.com/office/officeart/2005/8/layout/process3"/>
    <dgm:cxn modelId="{C8ECFF3C-3D96-4B0A-9E2F-76DB522238D6}" type="presParOf" srcId="{D8A159BF-19D8-4F30-86A1-993A18615DD5}" destId="{1D1E4DB7-B37F-4840-ADFF-4E4EAFC60A9B}" srcOrd="2" destOrd="0" presId="urn:microsoft.com/office/officeart/2005/8/layout/process3"/>
    <dgm:cxn modelId="{D78396E4-90E8-473D-8AAD-BFD303F7DBCC}" type="presParOf" srcId="{835F86C7-0D8C-41E2-9AD7-103E0E34AF1B}" destId="{4A5964C4-BDC9-4F48-B5A8-3670F2AB9883}" srcOrd="3" destOrd="0" presId="urn:microsoft.com/office/officeart/2005/8/layout/process3"/>
    <dgm:cxn modelId="{8B9BF0E9-5489-4938-BCD7-7E903C77C144}" type="presParOf" srcId="{4A5964C4-BDC9-4F48-B5A8-3670F2AB9883}" destId="{654D9787-1386-4C86-ADE6-22E8B3555AE6}" srcOrd="0" destOrd="0" presId="urn:microsoft.com/office/officeart/2005/8/layout/process3"/>
    <dgm:cxn modelId="{14EF3F94-5AF8-430D-BA7A-4D03DBBA324B}" type="presParOf" srcId="{835F86C7-0D8C-41E2-9AD7-103E0E34AF1B}" destId="{83C37E25-6B99-42A9-B7DD-F95948BCDF32}" srcOrd="4" destOrd="0" presId="urn:microsoft.com/office/officeart/2005/8/layout/process3"/>
    <dgm:cxn modelId="{E79EFEF7-977C-4313-8519-75A72097FC39}" type="presParOf" srcId="{83C37E25-6B99-42A9-B7DD-F95948BCDF32}" destId="{491F9F3F-4AD3-44D2-9499-996A6A5140D8}" srcOrd="0" destOrd="0" presId="urn:microsoft.com/office/officeart/2005/8/layout/process3"/>
    <dgm:cxn modelId="{82DF64D5-D856-49A8-9AF7-59ACD7F9F95C}" type="presParOf" srcId="{83C37E25-6B99-42A9-B7DD-F95948BCDF32}" destId="{49C2CB4F-9658-4A04-B539-36C57348A2E2}" srcOrd="1" destOrd="0" presId="urn:microsoft.com/office/officeart/2005/8/layout/process3"/>
    <dgm:cxn modelId="{5A8D7A30-8D87-43D4-A119-1DE7009E4B5B}" type="presParOf" srcId="{83C37E25-6B99-42A9-B7DD-F95948BCDF32}" destId="{9DAFAD65-5E8F-4C0F-B098-E20A6C04F162}" srcOrd="2" destOrd="0" presId="urn:microsoft.com/office/officeart/2005/8/layout/process3"/>
    <dgm:cxn modelId="{5C588D93-6B54-42B2-865A-1C22BCD8C418}" type="presParOf" srcId="{835F86C7-0D8C-41E2-9AD7-103E0E34AF1B}" destId="{7B4B866C-B1D5-45BD-A612-03A16DBA979F}" srcOrd="5" destOrd="0" presId="urn:microsoft.com/office/officeart/2005/8/layout/process3"/>
    <dgm:cxn modelId="{16A12090-EDEE-453F-ACC7-2412E7269BDA}" type="presParOf" srcId="{7B4B866C-B1D5-45BD-A612-03A16DBA979F}" destId="{B7FCB7E2-3128-4B0F-B7DE-5FDFBC787EF8}" srcOrd="0" destOrd="0" presId="urn:microsoft.com/office/officeart/2005/8/layout/process3"/>
    <dgm:cxn modelId="{2DCB23E7-5BDB-4EE4-A074-24ACAA291CD6}" type="presParOf" srcId="{835F86C7-0D8C-41E2-9AD7-103E0E34AF1B}" destId="{1A850F20-D55C-444F-AA40-3578BB32FAA7}" srcOrd="6" destOrd="0" presId="urn:microsoft.com/office/officeart/2005/8/layout/process3"/>
    <dgm:cxn modelId="{F7497EC1-3CAF-4B95-8408-77E2AE0646ED}" type="presParOf" srcId="{1A850F20-D55C-444F-AA40-3578BB32FAA7}" destId="{2929BF3D-FEE7-446C-8D30-C05335623E22}" srcOrd="0" destOrd="0" presId="urn:microsoft.com/office/officeart/2005/8/layout/process3"/>
    <dgm:cxn modelId="{D90A69DB-DD2A-4861-9DD3-0790CF7890B8}" type="presParOf" srcId="{1A850F20-D55C-444F-AA40-3578BB32FAA7}" destId="{749F7D48-2812-448C-A7A7-18BC985A2049}" srcOrd="1" destOrd="0" presId="urn:microsoft.com/office/officeart/2005/8/layout/process3"/>
    <dgm:cxn modelId="{9B0B9815-AB54-4288-BD69-162BF7A6701D}" type="presParOf" srcId="{1A850F20-D55C-444F-AA40-3578BB32FAA7}" destId="{E12A7C1F-D6A9-4503-885A-012D534E4BE4}"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FC543E3-5AD2-4D00-85D9-2513386A04ED}"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IN"/>
        </a:p>
      </dgm:t>
    </dgm:pt>
    <dgm:pt modelId="{6A1F5F41-FE8D-413D-8BF9-809431299B4C}">
      <dgm:prSet phldrT="[Text]" custT="1"/>
      <dgm:spPr/>
      <dgm:t>
        <a:bodyPr/>
        <a:lstStyle/>
        <a:p>
          <a:r>
            <a:rPr lang="en-IN" sz="1200" b="1" u="sng"/>
            <a:t>Login to UAN Profile</a:t>
          </a:r>
        </a:p>
      </dgm:t>
    </dgm:pt>
    <dgm:pt modelId="{ADA7D814-7374-4EFD-AE29-5D21B395D448}" type="parTrans" cxnId="{4CE78DDC-A307-4661-A3F1-F4A21EBC9698}">
      <dgm:prSet/>
      <dgm:spPr/>
      <dgm:t>
        <a:bodyPr/>
        <a:lstStyle/>
        <a:p>
          <a:endParaRPr lang="en-IN"/>
        </a:p>
      </dgm:t>
    </dgm:pt>
    <dgm:pt modelId="{9F921356-2779-489F-A6B7-A6E308ECD247}" type="sibTrans" cxnId="{4CE78DDC-A307-4661-A3F1-F4A21EBC9698}">
      <dgm:prSet/>
      <dgm:spPr/>
      <dgm:t>
        <a:bodyPr/>
        <a:lstStyle/>
        <a:p>
          <a:endParaRPr lang="en-IN"/>
        </a:p>
      </dgm:t>
    </dgm:pt>
    <dgm:pt modelId="{B5314730-EEF0-4DB9-81D6-2E3BFF60F600}">
      <dgm:prSet phldrT="[Text]" custT="1"/>
      <dgm:spPr/>
      <dgm:t>
        <a:bodyPr/>
        <a:lstStyle/>
        <a:p>
          <a:pPr algn="ctr"/>
          <a:r>
            <a:rPr lang="en-IN" sz="1200" b="1" u="sng"/>
            <a:t>Click on ‘Manage’ &amp; Select ‘E-Nomination’</a:t>
          </a:r>
        </a:p>
      </dgm:t>
    </dgm:pt>
    <dgm:pt modelId="{684D77ED-8E66-42BA-AFBC-102067D995EF}" type="parTrans" cxnId="{C04F4EC7-4554-437E-AC89-23C341466FDD}">
      <dgm:prSet/>
      <dgm:spPr/>
      <dgm:t>
        <a:bodyPr/>
        <a:lstStyle/>
        <a:p>
          <a:endParaRPr lang="en-IN"/>
        </a:p>
      </dgm:t>
    </dgm:pt>
    <dgm:pt modelId="{3B57BC03-96C3-48BA-B8B0-D3331A8532D0}" type="sibTrans" cxnId="{C04F4EC7-4554-437E-AC89-23C341466FDD}">
      <dgm:prSet/>
      <dgm:spPr/>
      <dgm:t>
        <a:bodyPr/>
        <a:lstStyle/>
        <a:p>
          <a:endParaRPr lang="en-IN"/>
        </a:p>
      </dgm:t>
    </dgm:pt>
    <dgm:pt modelId="{C2FE6ACC-1229-4E36-90D4-9D694961F765}">
      <dgm:prSet phldrT="[Text]" custT="1"/>
      <dgm:spPr/>
      <dgm:t>
        <a:bodyPr/>
        <a:lstStyle/>
        <a:p>
          <a:pPr algn="ctr"/>
          <a:r>
            <a:rPr lang="en-IN" sz="1200" b="1" u="sng"/>
            <a:t>Enter Address Details</a:t>
          </a:r>
        </a:p>
      </dgm:t>
    </dgm:pt>
    <dgm:pt modelId="{F9697A2F-CD7C-4E3C-8016-1ED697F1C6BF}" type="parTrans" cxnId="{6DE696D8-70C7-408E-97DB-AED3F804E83D}">
      <dgm:prSet/>
      <dgm:spPr/>
      <dgm:t>
        <a:bodyPr/>
        <a:lstStyle/>
        <a:p>
          <a:endParaRPr lang="en-IN"/>
        </a:p>
      </dgm:t>
    </dgm:pt>
    <dgm:pt modelId="{EAF5EA30-2DCC-43BE-8EFB-9BDBE7A0F30E}" type="sibTrans" cxnId="{6DE696D8-70C7-408E-97DB-AED3F804E83D}">
      <dgm:prSet/>
      <dgm:spPr/>
      <dgm:t>
        <a:bodyPr/>
        <a:lstStyle/>
        <a:p>
          <a:endParaRPr lang="en-IN"/>
        </a:p>
      </dgm:t>
    </dgm:pt>
    <dgm:pt modelId="{13AD4576-0037-4D21-AC4F-50827F29DD9D}">
      <dgm:prSet custT="1"/>
      <dgm:spPr/>
      <dgm:t>
        <a:bodyPr/>
        <a:lstStyle/>
        <a:p>
          <a:r>
            <a:rPr lang="en-IN" sz="1200" b="1" u="sng"/>
            <a:t>Add Family Details</a:t>
          </a:r>
        </a:p>
      </dgm:t>
    </dgm:pt>
    <dgm:pt modelId="{16E4EE5D-055B-4BAE-8075-BC65A3535E1B}" type="parTrans" cxnId="{03404BF1-1E48-4D7A-B73A-07F9E8FAEE1A}">
      <dgm:prSet/>
      <dgm:spPr/>
      <dgm:t>
        <a:bodyPr/>
        <a:lstStyle/>
        <a:p>
          <a:endParaRPr lang="en-IN"/>
        </a:p>
      </dgm:t>
    </dgm:pt>
    <dgm:pt modelId="{E5A0CE45-BDFF-4E8F-A605-2A75D743FAC5}" type="sibTrans" cxnId="{03404BF1-1E48-4D7A-B73A-07F9E8FAEE1A}">
      <dgm:prSet/>
      <dgm:spPr/>
      <dgm:t>
        <a:bodyPr/>
        <a:lstStyle/>
        <a:p>
          <a:endParaRPr lang="en-IN"/>
        </a:p>
      </dgm:t>
    </dgm:pt>
    <dgm:pt modelId="{DBA16E37-6185-445C-BF7A-1B719F3767D1}">
      <dgm:prSet custT="1"/>
      <dgm:spPr/>
      <dgm:t>
        <a:bodyPr/>
        <a:lstStyle/>
        <a:p>
          <a:r>
            <a:rPr lang="en-IN" sz="1200" b="1" u="sng"/>
            <a:t>Authorise nomination details through “E-Sign”</a:t>
          </a:r>
        </a:p>
      </dgm:t>
    </dgm:pt>
    <dgm:pt modelId="{F738DEA4-DC5B-47D7-8D5D-8DAB7420EB04}" type="parTrans" cxnId="{3ED95DE3-B5AD-4E23-9256-03BBCE7723B7}">
      <dgm:prSet/>
      <dgm:spPr/>
      <dgm:t>
        <a:bodyPr/>
        <a:lstStyle/>
        <a:p>
          <a:endParaRPr lang="en-IN"/>
        </a:p>
      </dgm:t>
    </dgm:pt>
    <dgm:pt modelId="{ECFAB647-A8F5-4ED1-AB4F-5BB0E32D2EC1}" type="sibTrans" cxnId="{3ED95DE3-B5AD-4E23-9256-03BBCE7723B7}">
      <dgm:prSet/>
      <dgm:spPr/>
      <dgm:t>
        <a:bodyPr/>
        <a:lstStyle/>
        <a:p>
          <a:endParaRPr lang="en-IN"/>
        </a:p>
      </dgm:t>
    </dgm:pt>
    <dgm:pt modelId="{48BCA4B9-6707-4973-96DF-DBDAC5544AE9}">
      <dgm:prSet custT="1"/>
      <dgm:spPr/>
      <dgm:t>
        <a:bodyPr/>
        <a:lstStyle/>
        <a:p>
          <a:r>
            <a:rPr lang="en-IN" sz="1200" b="1" u="sng"/>
            <a:t>Declare share amount &amp; Save the details</a:t>
          </a:r>
        </a:p>
      </dgm:t>
    </dgm:pt>
    <dgm:pt modelId="{14F0297C-C9FC-41C0-B839-F35820F3B6B9}" type="parTrans" cxnId="{DFC7A1E4-55F5-49AA-98A8-8E4ABA806BF3}">
      <dgm:prSet/>
      <dgm:spPr/>
      <dgm:t>
        <a:bodyPr/>
        <a:lstStyle/>
        <a:p>
          <a:endParaRPr lang="en-IN"/>
        </a:p>
      </dgm:t>
    </dgm:pt>
    <dgm:pt modelId="{C0AC8F10-8E14-4BB8-A7BB-5076BC9797CE}" type="sibTrans" cxnId="{DFC7A1E4-55F5-49AA-98A8-8E4ABA806BF3}">
      <dgm:prSet/>
      <dgm:spPr/>
      <dgm:t>
        <a:bodyPr/>
        <a:lstStyle/>
        <a:p>
          <a:endParaRPr lang="en-IN"/>
        </a:p>
      </dgm:t>
    </dgm:pt>
    <dgm:pt modelId="{0163FC56-B679-4541-A5D4-A1232AF91906}" type="pres">
      <dgm:prSet presAssocID="{EFC543E3-5AD2-4D00-85D9-2513386A04ED}" presName="Name0" presStyleCnt="0">
        <dgm:presLayoutVars>
          <dgm:chMax val="11"/>
          <dgm:chPref val="11"/>
          <dgm:dir/>
          <dgm:resizeHandles/>
        </dgm:presLayoutVars>
      </dgm:prSet>
      <dgm:spPr/>
    </dgm:pt>
    <dgm:pt modelId="{1AEFE94E-ABC4-4345-A439-74BE0C591155}" type="pres">
      <dgm:prSet presAssocID="{DBA16E37-6185-445C-BF7A-1B719F3767D1}" presName="Accent6" presStyleCnt="0"/>
      <dgm:spPr/>
    </dgm:pt>
    <dgm:pt modelId="{393BB74F-41D2-4055-BC8D-94299564360C}" type="pres">
      <dgm:prSet presAssocID="{DBA16E37-6185-445C-BF7A-1B719F3767D1}" presName="Accent" presStyleLbl="node1" presStyleIdx="0" presStyleCnt="6"/>
      <dgm:spPr/>
    </dgm:pt>
    <dgm:pt modelId="{F8C6E8B7-1A67-4328-91D4-20245175DAA2}" type="pres">
      <dgm:prSet presAssocID="{DBA16E37-6185-445C-BF7A-1B719F3767D1}" presName="ParentBackground6" presStyleCnt="0"/>
      <dgm:spPr/>
    </dgm:pt>
    <dgm:pt modelId="{ED6BB1C6-74FE-4F3A-BF7B-57FEB99530EB}" type="pres">
      <dgm:prSet presAssocID="{DBA16E37-6185-445C-BF7A-1B719F3767D1}" presName="ParentBackground" presStyleLbl="fgAcc1" presStyleIdx="0" presStyleCnt="6"/>
      <dgm:spPr/>
    </dgm:pt>
    <dgm:pt modelId="{26EDC007-CBD3-4927-8B58-1E6DB272C348}" type="pres">
      <dgm:prSet presAssocID="{DBA16E37-6185-445C-BF7A-1B719F3767D1}" presName="Parent6" presStyleLbl="revTx" presStyleIdx="0" presStyleCnt="0">
        <dgm:presLayoutVars>
          <dgm:chMax val="1"/>
          <dgm:chPref val="1"/>
          <dgm:bulletEnabled val="1"/>
        </dgm:presLayoutVars>
      </dgm:prSet>
      <dgm:spPr/>
    </dgm:pt>
    <dgm:pt modelId="{00121B9C-2477-47D3-BBD8-A42EE3B17C86}" type="pres">
      <dgm:prSet presAssocID="{48BCA4B9-6707-4973-96DF-DBDAC5544AE9}" presName="Accent5" presStyleCnt="0"/>
      <dgm:spPr/>
    </dgm:pt>
    <dgm:pt modelId="{589DDA9F-0C35-4812-A450-6CAEBC2B113C}" type="pres">
      <dgm:prSet presAssocID="{48BCA4B9-6707-4973-96DF-DBDAC5544AE9}" presName="Accent" presStyleLbl="node1" presStyleIdx="1" presStyleCnt="6"/>
      <dgm:spPr/>
    </dgm:pt>
    <dgm:pt modelId="{52446F05-68B5-4808-BDBF-7E9D2E835836}" type="pres">
      <dgm:prSet presAssocID="{48BCA4B9-6707-4973-96DF-DBDAC5544AE9}" presName="ParentBackground5" presStyleCnt="0"/>
      <dgm:spPr/>
    </dgm:pt>
    <dgm:pt modelId="{4784BA5D-63B6-4A3B-9B83-70ADBCD969DD}" type="pres">
      <dgm:prSet presAssocID="{48BCA4B9-6707-4973-96DF-DBDAC5544AE9}" presName="ParentBackground" presStyleLbl="fgAcc1" presStyleIdx="1" presStyleCnt="6"/>
      <dgm:spPr/>
    </dgm:pt>
    <dgm:pt modelId="{6D53750B-26FE-43EB-84C4-7BAC87037051}" type="pres">
      <dgm:prSet presAssocID="{48BCA4B9-6707-4973-96DF-DBDAC5544AE9}" presName="Parent5" presStyleLbl="revTx" presStyleIdx="0" presStyleCnt="0">
        <dgm:presLayoutVars>
          <dgm:chMax val="1"/>
          <dgm:chPref val="1"/>
          <dgm:bulletEnabled val="1"/>
        </dgm:presLayoutVars>
      </dgm:prSet>
      <dgm:spPr/>
    </dgm:pt>
    <dgm:pt modelId="{02689427-CCD3-4FF8-8648-6C447E06CF57}" type="pres">
      <dgm:prSet presAssocID="{13AD4576-0037-4D21-AC4F-50827F29DD9D}" presName="Accent4" presStyleCnt="0"/>
      <dgm:spPr/>
    </dgm:pt>
    <dgm:pt modelId="{58EECA6D-6678-4622-AA3C-7D59E9D4F6A9}" type="pres">
      <dgm:prSet presAssocID="{13AD4576-0037-4D21-AC4F-50827F29DD9D}" presName="Accent" presStyleLbl="node1" presStyleIdx="2" presStyleCnt="6"/>
      <dgm:spPr/>
    </dgm:pt>
    <dgm:pt modelId="{F06CAE2F-BB7C-4C98-ADCA-CF141162ADA8}" type="pres">
      <dgm:prSet presAssocID="{13AD4576-0037-4D21-AC4F-50827F29DD9D}" presName="ParentBackground4" presStyleCnt="0"/>
      <dgm:spPr/>
    </dgm:pt>
    <dgm:pt modelId="{B89FEB66-C068-4513-B4B8-C3B4C195009D}" type="pres">
      <dgm:prSet presAssocID="{13AD4576-0037-4D21-AC4F-50827F29DD9D}" presName="ParentBackground" presStyleLbl="fgAcc1" presStyleIdx="2" presStyleCnt="6" custLinFactNeighborX="-672" custLinFactNeighborY="-181"/>
      <dgm:spPr/>
    </dgm:pt>
    <dgm:pt modelId="{D4FA34F3-F783-43EF-81CA-8F321126D81A}" type="pres">
      <dgm:prSet presAssocID="{13AD4576-0037-4D21-AC4F-50827F29DD9D}" presName="Parent4" presStyleLbl="revTx" presStyleIdx="0" presStyleCnt="0">
        <dgm:presLayoutVars>
          <dgm:chMax val="1"/>
          <dgm:chPref val="1"/>
          <dgm:bulletEnabled val="1"/>
        </dgm:presLayoutVars>
      </dgm:prSet>
      <dgm:spPr/>
    </dgm:pt>
    <dgm:pt modelId="{ED41BDD2-5703-4429-829C-C5DDBE311AB2}" type="pres">
      <dgm:prSet presAssocID="{C2FE6ACC-1229-4E36-90D4-9D694961F765}" presName="Accent3" presStyleCnt="0"/>
      <dgm:spPr/>
    </dgm:pt>
    <dgm:pt modelId="{8970DC3D-B292-4A83-BE77-3E76AF635130}" type="pres">
      <dgm:prSet presAssocID="{C2FE6ACC-1229-4E36-90D4-9D694961F765}" presName="Accent" presStyleLbl="node1" presStyleIdx="3" presStyleCnt="6"/>
      <dgm:spPr/>
    </dgm:pt>
    <dgm:pt modelId="{2FD1D12B-B273-4179-A6A8-C598AD6491D6}" type="pres">
      <dgm:prSet presAssocID="{C2FE6ACC-1229-4E36-90D4-9D694961F765}" presName="ParentBackground3" presStyleCnt="0"/>
      <dgm:spPr/>
    </dgm:pt>
    <dgm:pt modelId="{FF69BEB8-D9C0-4213-9E03-99D3FB8EE9F6}" type="pres">
      <dgm:prSet presAssocID="{C2FE6ACC-1229-4E36-90D4-9D694961F765}" presName="ParentBackground" presStyleLbl="fgAcc1" presStyleIdx="3" presStyleCnt="6"/>
      <dgm:spPr/>
    </dgm:pt>
    <dgm:pt modelId="{61369E89-5B45-4C65-AAF6-DC3050C085A1}" type="pres">
      <dgm:prSet presAssocID="{C2FE6ACC-1229-4E36-90D4-9D694961F765}" presName="Parent3" presStyleLbl="revTx" presStyleIdx="0" presStyleCnt="0">
        <dgm:presLayoutVars>
          <dgm:chMax val="1"/>
          <dgm:chPref val="1"/>
          <dgm:bulletEnabled val="1"/>
        </dgm:presLayoutVars>
      </dgm:prSet>
      <dgm:spPr/>
    </dgm:pt>
    <dgm:pt modelId="{398AC196-2CE6-46E7-98B0-BA5375630104}" type="pres">
      <dgm:prSet presAssocID="{B5314730-EEF0-4DB9-81D6-2E3BFF60F600}" presName="Accent2" presStyleCnt="0"/>
      <dgm:spPr/>
    </dgm:pt>
    <dgm:pt modelId="{99AA9144-CAC5-4502-BDDB-BCEB71D93E7B}" type="pres">
      <dgm:prSet presAssocID="{B5314730-EEF0-4DB9-81D6-2E3BFF60F600}" presName="Accent" presStyleLbl="node1" presStyleIdx="4" presStyleCnt="6"/>
      <dgm:spPr/>
    </dgm:pt>
    <dgm:pt modelId="{C7BAC9C4-2C71-46EF-A55D-124A98B5DBD2}" type="pres">
      <dgm:prSet presAssocID="{B5314730-EEF0-4DB9-81D6-2E3BFF60F600}" presName="ParentBackground2" presStyleCnt="0"/>
      <dgm:spPr/>
    </dgm:pt>
    <dgm:pt modelId="{C78CB22C-1C61-4EEC-BFA0-ABD7CF4B4C29}" type="pres">
      <dgm:prSet presAssocID="{B5314730-EEF0-4DB9-81D6-2E3BFF60F600}" presName="ParentBackground" presStyleLbl="fgAcc1" presStyleIdx="4" presStyleCnt="6"/>
      <dgm:spPr/>
    </dgm:pt>
    <dgm:pt modelId="{6483E28F-DD05-4745-B941-B804CA3AC74D}" type="pres">
      <dgm:prSet presAssocID="{B5314730-EEF0-4DB9-81D6-2E3BFF60F600}" presName="Parent2" presStyleLbl="revTx" presStyleIdx="0" presStyleCnt="0">
        <dgm:presLayoutVars>
          <dgm:chMax val="1"/>
          <dgm:chPref val="1"/>
          <dgm:bulletEnabled val="1"/>
        </dgm:presLayoutVars>
      </dgm:prSet>
      <dgm:spPr/>
    </dgm:pt>
    <dgm:pt modelId="{B47E13CB-5C6E-4344-9FBF-3DD2BA5D8F89}" type="pres">
      <dgm:prSet presAssocID="{6A1F5F41-FE8D-413D-8BF9-809431299B4C}" presName="Accent1" presStyleCnt="0"/>
      <dgm:spPr/>
    </dgm:pt>
    <dgm:pt modelId="{F9CEEBFC-7A03-4473-B9CB-A24A09D23511}" type="pres">
      <dgm:prSet presAssocID="{6A1F5F41-FE8D-413D-8BF9-809431299B4C}" presName="Accent" presStyleLbl="node1" presStyleIdx="5" presStyleCnt="6"/>
      <dgm:spPr/>
    </dgm:pt>
    <dgm:pt modelId="{481F056C-075E-469B-AEF8-4A86533FAFC4}" type="pres">
      <dgm:prSet presAssocID="{6A1F5F41-FE8D-413D-8BF9-809431299B4C}" presName="ParentBackground1" presStyleCnt="0"/>
      <dgm:spPr/>
    </dgm:pt>
    <dgm:pt modelId="{C822F2A8-6544-460B-86EC-34AA454A69BD}" type="pres">
      <dgm:prSet presAssocID="{6A1F5F41-FE8D-413D-8BF9-809431299B4C}" presName="ParentBackground" presStyleLbl="fgAcc1" presStyleIdx="5" presStyleCnt="6"/>
      <dgm:spPr/>
    </dgm:pt>
    <dgm:pt modelId="{718AE378-56F9-4A0B-85AA-2B7487DD3764}" type="pres">
      <dgm:prSet presAssocID="{6A1F5F41-FE8D-413D-8BF9-809431299B4C}" presName="Parent1" presStyleLbl="revTx" presStyleIdx="0" presStyleCnt="0">
        <dgm:presLayoutVars>
          <dgm:chMax val="1"/>
          <dgm:chPref val="1"/>
          <dgm:bulletEnabled val="1"/>
        </dgm:presLayoutVars>
      </dgm:prSet>
      <dgm:spPr/>
    </dgm:pt>
  </dgm:ptLst>
  <dgm:cxnLst>
    <dgm:cxn modelId="{023CA800-A4EF-4BEF-A8EA-25AED5BDA194}" type="presOf" srcId="{DBA16E37-6185-445C-BF7A-1B719F3767D1}" destId="{26EDC007-CBD3-4927-8B58-1E6DB272C348}" srcOrd="1" destOrd="0" presId="urn:microsoft.com/office/officeart/2011/layout/CircleProcess"/>
    <dgm:cxn modelId="{4C933609-6E65-4003-B3DE-07E0FDF2E410}" type="presOf" srcId="{DBA16E37-6185-445C-BF7A-1B719F3767D1}" destId="{ED6BB1C6-74FE-4F3A-BF7B-57FEB99530EB}" srcOrd="0" destOrd="0" presId="urn:microsoft.com/office/officeart/2011/layout/CircleProcess"/>
    <dgm:cxn modelId="{AB86B220-DB17-483A-8359-D45D646AB984}" type="presOf" srcId="{6A1F5F41-FE8D-413D-8BF9-809431299B4C}" destId="{718AE378-56F9-4A0B-85AA-2B7487DD3764}" srcOrd="1" destOrd="0" presId="urn:microsoft.com/office/officeart/2011/layout/CircleProcess"/>
    <dgm:cxn modelId="{376CE338-9F61-45E9-8EFA-2B411FCE791E}" type="presOf" srcId="{EFC543E3-5AD2-4D00-85D9-2513386A04ED}" destId="{0163FC56-B679-4541-A5D4-A1232AF91906}" srcOrd="0" destOrd="0" presId="urn:microsoft.com/office/officeart/2011/layout/CircleProcess"/>
    <dgm:cxn modelId="{70EE2A63-F2C0-474F-AA5A-E92727CB80A1}" type="presOf" srcId="{B5314730-EEF0-4DB9-81D6-2E3BFF60F600}" destId="{C78CB22C-1C61-4EEC-BFA0-ABD7CF4B4C29}" srcOrd="0" destOrd="0" presId="urn:microsoft.com/office/officeart/2011/layout/CircleProcess"/>
    <dgm:cxn modelId="{5E535565-C4FE-466E-9203-AEFE0D0EAC6B}" type="presOf" srcId="{13AD4576-0037-4D21-AC4F-50827F29DD9D}" destId="{B89FEB66-C068-4513-B4B8-C3B4C195009D}" srcOrd="0" destOrd="0" presId="urn:microsoft.com/office/officeart/2011/layout/CircleProcess"/>
    <dgm:cxn modelId="{B8654E52-57C1-44F9-884C-1EE337869BA7}" type="presOf" srcId="{C2FE6ACC-1229-4E36-90D4-9D694961F765}" destId="{61369E89-5B45-4C65-AAF6-DC3050C085A1}" srcOrd="1" destOrd="0" presId="urn:microsoft.com/office/officeart/2011/layout/CircleProcess"/>
    <dgm:cxn modelId="{6ECB2875-6E46-4906-A2FC-14853A4952A3}" type="presOf" srcId="{C2FE6ACC-1229-4E36-90D4-9D694961F765}" destId="{FF69BEB8-D9C0-4213-9E03-99D3FB8EE9F6}" srcOrd="0" destOrd="0" presId="urn:microsoft.com/office/officeart/2011/layout/CircleProcess"/>
    <dgm:cxn modelId="{22FB499B-C45B-48B9-A457-D9AE842ADAA7}" type="presOf" srcId="{48BCA4B9-6707-4973-96DF-DBDAC5544AE9}" destId="{4784BA5D-63B6-4A3B-9B83-70ADBCD969DD}" srcOrd="0" destOrd="0" presId="urn:microsoft.com/office/officeart/2011/layout/CircleProcess"/>
    <dgm:cxn modelId="{DA39BBA0-3478-49CA-B6D4-C748F0FBB6A0}" type="presOf" srcId="{13AD4576-0037-4D21-AC4F-50827F29DD9D}" destId="{D4FA34F3-F783-43EF-81CA-8F321126D81A}" srcOrd="1" destOrd="0" presId="urn:microsoft.com/office/officeart/2011/layout/CircleProcess"/>
    <dgm:cxn modelId="{ED9AAAAE-9ABC-457F-9087-959A4B085598}" type="presOf" srcId="{48BCA4B9-6707-4973-96DF-DBDAC5544AE9}" destId="{6D53750B-26FE-43EB-84C4-7BAC87037051}" srcOrd="1" destOrd="0" presId="urn:microsoft.com/office/officeart/2011/layout/CircleProcess"/>
    <dgm:cxn modelId="{C04F4EC7-4554-437E-AC89-23C341466FDD}" srcId="{EFC543E3-5AD2-4D00-85D9-2513386A04ED}" destId="{B5314730-EEF0-4DB9-81D6-2E3BFF60F600}" srcOrd="1" destOrd="0" parTransId="{684D77ED-8E66-42BA-AFBC-102067D995EF}" sibTransId="{3B57BC03-96C3-48BA-B8B0-D3331A8532D0}"/>
    <dgm:cxn modelId="{22D201D5-683E-43A8-B508-0FAD95ED2ED0}" type="presOf" srcId="{B5314730-EEF0-4DB9-81D6-2E3BFF60F600}" destId="{6483E28F-DD05-4745-B941-B804CA3AC74D}" srcOrd="1" destOrd="0" presId="urn:microsoft.com/office/officeart/2011/layout/CircleProcess"/>
    <dgm:cxn modelId="{6DE696D8-70C7-408E-97DB-AED3F804E83D}" srcId="{EFC543E3-5AD2-4D00-85D9-2513386A04ED}" destId="{C2FE6ACC-1229-4E36-90D4-9D694961F765}" srcOrd="2" destOrd="0" parTransId="{F9697A2F-CD7C-4E3C-8016-1ED697F1C6BF}" sibTransId="{EAF5EA30-2DCC-43BE-8EFB-9BDBE7A0F30E}"/>
    <dgm:cxn modelId="{4CE78DDC-A307-4661-A3F1-F4A21EBC9698}" srcId="{EFC543E3-5AD2-4D00-85D9-2513386A04ED}" destId="{6A1F5F41-FE8D-413D-8BF9-809431299B4C}" srcOrd="0" destOrd="0" parTransId="{ADA7D814-7374-4EFD-AE29-5D21B395D448}" sibTransId="{9F921356-2779-489F-A6B7-A6E308ECD247}"/>
    <dgm:cxn modelId="{3ED95DE3-B5AD-4E23-9256-03BBCE7723B7}" srcId="{EFC543E3-5AD2-4D00-85D9-2513386A04ED}" destId="{DBA16E37-6185-445C-BF7A-1B719F3767D1}" srcOrd="5" destOrd="0" parTransId="{F738DEA4-DC5B-47D7-8D5D-8DAB7420EB04}" sibTransId="{ECFAB647-A8F5-4ED1-AB4F-5BB0E32D2EC1}"/>
    <dgm:cxn modelId="{DFC7A1E4-55F5-49AA-98A8-8E4ABA806BF3}" srcId="{EFC543E3-5AD2-4D00-85D9-2513386A04ED}" destId="{48BCA4B9-6707-4973-96DF-DBDAC5544AE9}" srcOrd="4" destOrd="0" parTransId="{14F0297C-C9FC-41C0-B839-F35820F3B6B9}" sibTransId="{C0AC8F10-8E14-4BB8-A7BB-5076BC9797CE}"/>
    <dgm:cxn modelId="{03404BF1-1E48-4D7A-B73A-07F9E8FAEE1A}" srcId="{EFC543E3-5AD2-4D00-85D9-2513386A04ED}" destId="{13AD4576-0037-4D21-AC4F-50827F29DD9D}" srcOrd="3" destOrd="0" parTransId="{16E4EE5D-055B-4BAE-8075-BC65A3535E1B}" sibTransId="{E5A0CE45-BDFF-4E8F-A605-2A75D743FAC5}"/>
    <dgm:cxn modelId="{BF2E57F8-C6F4-499D-AF45-975E6260E4E9}" type="presOf" srcId="{6A1F5F41-FE8D-413D-8BF9-809431299B4C}" destId="{C822F2A8-6544-460B-86EC-34AA454A69BD}" srcOrd="0" destOrd="0" presId="urn:microsoft.com/office/officeart/2011/layout/CircleProcess"/>
    <dgm:cxn modelId="{E5F2FD3C-E6F0-435C-AD8F-3CBA1C9E1473}" type="presParOf" srcId="{0163FC56-B679-4541-A5D4-A1232AF91906}" destId="{1AEFE94E-ABC4-4345-A439-74BE0C591155}" srcOrd="0" destOrd="0" presId="urn:microsoft.com/office/officeart/2011/layout/CircleProcess"/>
    <dgm:cxn modelId="{CF02D111-5D4F-48F0-A112-D41638435D5B}" type="presParOf" srcId="{1AEFE94E-ABC4-4345-A439-74BE0C591155}" destId="{393BB74F-41D2-4055-BC8D-94299564360C}" srcOrd="0" destOrd="0" presId="urn:microsoft.com/office/officeart/2011/layout/CircleProcess"/>
    <dgm:cxn modelId="{3F290638-1F28-4973-8ED2-CE130B7973E3}" type="presParOf" srcId="{0163FC56-B679-4541-A5D4-A1232AF91906}" destId="{F8C6E8B7-1A67-4328-91D4-20245175DAA2}" srcOrd="1" destOrd="0" presId="urn:microsoft.com/office/officeart/2011/layout/CircleProcess"/>
    <dgm:cxn modelId="{525B5019-7BF9-44ED-BC25-B638B0467652}" type="presParOf" srcId="{F8C6E8B7-1A67-4328-91D4-20245175DAA2}" destId="{ED6BB1C6-74FE-4F3A-BF7B-57FEB99530EB}" srcOrd="0" destOrd="0" presId="urn:microsoft.com/office/officeart/2011/layout/CircleProcess"/>
    <dgm:cxn modelId="{66E725AE-161C-4968-A4E4-5C4CF77FAC07}" type="presParOf" srcId="{0163FC56-B679-4541-A5D4-A1232AF91906}" destId="{26EDC007-CBD3-4927-8B58-1E6DB272C348}" srcOrd="2" destOrd="0" presId="urn:microsoft.com/office/officeart/2011/layout/CircleProcess"/>
    <dgm:cxn modelId="{A7EBCE83-B523-44E7-856B-E4823DA61C8C}" type="presParOf" srcId="{0163FC56-B679-4541-A5D4-A1232AF91906}" destId="{00121B9C-2477-47D3-BBD8-A42EE3B17C86}" srcOrd="3" destOrd="0" presId="urn:microsoft.com/office/officeart/2011/layout/CircleProcess"/>
    <dgm:cxn modelId="{0985769D-0438-43BD-9794-4F0F4902EA30}" type="presParOf" srcId="{00121B9C-2477-47D3-BBD8-A42EE3B17C86}" destId="{589DDA9F-0C35-4812-A450-6CAEBC2B113C}" srcOrd="0" destOrd="0" presId="urn:microsoft.com/office/officeart/2011/layout/CircleProcess"/>
    <dgm:cxn modelId="{B1A446BD-454A-4166-81BA-CBECC7A658B8}" type="presParOf" srcId="{0163FC56-B679-4541-A5D4-A1232AF91906}" destId="{52446F05-68B5-4808-BDBF-7E9D2E835836}" srcOrd="4" destOrd="0" presId="urn:microsoft.com/office/officeart/2011/layout/CircleProcess"/>
    <dgm:cxn modelId="{D5CAB8E0-2072-4811-9B97-F2E3BBEAE297}" type="presParOf" srcId="{52446F05-68B5-4808-BDBF-7E9D2E835836}" destId="{4784BA5D-63B6-4A3B-9B83-70ADBCD969DD}" srcOrd="0" destOrd="0" presId="urn:microsoft.com/office/officeart/2011/layout/CircleProcess"/>
    <dgm:cxn modelId="{E36CC1F8-0C75-4D4A-AFBC-A040144F1BF4}" type="presParOf" srcId="{0163FC56-B679-4541-A5D4-A1232AF91906}" destId="{6D53750B-26FE-43EB-84C4-7BAC87037051}" srcOrd="5" destOrd="0" presId="urn:microsoft.com/office/officeart/2011/layout/CircleProcess"/>
    <dgm:cxn modelId="{480B989D-21B4-4188-A0F8-5F861A7DBB93}" type="presParOf" srcId="{0163FC56-B679-4541-A5D4-A1232AF91906}" destId="{02689427-CCD3-4FF8-8648-6C447E06CF57}" srcOrd="6" destOrd="0" presId="urn:microsoft.com/office/officeart/2011/layout/CircleProcess"/>
    <dgm:cxn modelId="{948EF519-17F8-4B7F-9B41-294DC7560523}" type="presParOf" srcId="{02689427-CCD3-4FF8-8648-6C447E06CF57}" destId="{58EECA6D-6678-4622-AA3C-7D59E9D4F6A9}" srcOrd="0" destOrd="0" presId="urn:microsoft.com/office/officeart/2011/layout/CircleProcess"/>
    <dgm:cxn modelId="{715220A2-8052-4F74-97B7-E06C8E012555}" type="presParOf" srcId="{0163FC56-B679-4541-A5D4-A1232AF91906}" destId="{F06CAE2F-BB7C-4C98-ADCA-CF141162ADA8}" srcOrd="7" destOrd="0" presId="urn:microsoft.com/office/officeart/2011/layout/CircleProcess"/>
    <dgm:cxn modelId="{0EACC9FC-D640-49F4-9B70-DED9FC9123E9}" type="presParOf" srcId="{F06CAE2F-BB7C-4C98-ADCA-CF141162ADA8}" destId="{B89FEB66-C068-4513-B4B8-C3B4C195009D}" srcOrd="0" destOrd="0" presId="urn:microsoft.com/office/officeart/2011/layout/CircleProcess"/>
    <dgm:cxn modelId="{725DA5BB-DEA4-4FB2-99D2-D1F0685039C5}" type="presParOf" srcId="{0163FC56-B679-4541-A5D4-A1232AF91906}" destId="{D4FA34F3-F783-43EF-81CA-8F321126D81A}" srcOrd="8" destOrd="0" presId="urn:microsoft.com/office/officeart/2011/layout/CircleProcess"/>
    <dgm:cxn modelId="{178C656D-9F9A-4255-8006-688EC91E7131}" type="presParOf" srcId="{0163FC56-B679-4541-A5D4-A1232AF91906}" destId="{ED41BDD2-5703-4429-829C-C5DDBE311AB2}" srcOrd="9" destOrd="0" presId="urn:microsoft.com/office/officeart/2011/layout/CircleProcess"/>
    <dgm:cxn modelId="{920A09BA-9C05-4592-92F7-991169B4624A}" type="presParOf" srcId="{ED41BDD2-5703-4429-829C-C5DDBE311AB2}" destId="{8970DC3D-B292-4A83-BE77-3E76AF635130}" srcOrd="0" destOrd="0" presId="urn:microsoft.com/office/officeart/2011/layout/CircleProcess"/>
    <dgm:cxn modelId="{CA15B247-4338-4407-AAFB-4FF66B115CD4}" type="presParOf" srcId="{0163FC56-B679-4541-A5D4-A1232AF91906}" destId="{2FD1D12B-B273-4179-A6A8-C598AD6491D6}" srcOrd="10" destOrd="0" presId="urn:microsoft.com/office/officeart/2011/layout/CircleProcess"/>
    <dgm:cxn modelId="{F7905205-9F70-4940-B094-4D52460B7F56}" type="presParOf" srcId="{2FD1D12B-B273-4179-A6A8-C598AD6491D6}" destId="{FF69BEB8-D9C0-4213-9E03-99D3FB8EE9F6}" srcOrd="0" destOrd="0" presId="urn:microsoft.com/office/officeart/2011/layout/CircleProcess"/>
    <dgm:cxn modelId="{52C1D260-09CC-471A-B202-8DF1A151CD53}" type="presParOf" srcId="{0163FC56-B679-4541-A5D4-A1232AF91906}" destId="{61369E89-5B45-4C65-AAF6-DC3050C085A1}" srcOrd="11" destOrd="0" presId="urn:microsoft.com/office/officeart/2011/layout/CircleProcess"/>
    <dgm:cxn modelId="{DC168FAB-1903-4226-8B1F-20CD767F91CE}" type="presParOf" srcId="{0163FC56-B679-4541-A5D4-A1232AF91906}" destId="{398AC196-2CE6-46E7-98B0-BA5375630104}" srcOrd="12" destOrd="0" presId="urn:microsoft.com/office/officeart/2011/layout/CircleProcess"/>
    <dgm:cxn modelId="{AA7C7797-62E5-48F0-B4A4-585799DCBD68}" type="presParOf" srcId="{398AC196-2CE6-46E7-98B0-BA5375630104}" destId="{99AA9144-CAC5-4502-BDDB-BCEB71D93E7B}" srcOrd="0" destOrd="0" presId="urn:microsoft.com/office/officeart/2011/layout/CircleProcess"/>
    <dgm:cxn modelId="{5DF0B7C5-D00E-4852-BB8F-907AB6AAEBDA}" type="presParOf" srcId="{0163FC56-B679-4541-A5D4-A1232AF91906}" destId="{C7BAC9C4-2C71-46EF-A55D-124A98B5DBD2}" srcOrd="13" destOrd="0" presId="urn:microsoft.com/office/officeart/2011/layout/CircleProcess"/>
    <dgm:cxn modelId="{0CF655D7-D580-45D5-B2B1-4370E98ABCEA}" type="presParOf" srcId="{C7BAC9C4-2C71-46EF-A55D-124A98B5DBD2}" destId="{C78CB22C-1C61-4EEC-BFA0-ABD7CF4B4C29}" srcOrd="0" destOrd="0" presId="urn:microsoft.com/office/officeart/2011/layout/CircleProcess"/>
    <dgm:cxn modelId="{045530E7-A9D9-4998-8C1D-132500886A32}" type="presParOf" srcId="{0163FC56-B679-4541-A5D4-A1232AF91906}" destId="{6483E28F-DD05-4745-B941-B804CA3AC74D}" srcOrd="14" destOrd="0" presId="urn:microsoft.com/office/officeart/2011/layout/CircleProcess"/>
    <dgm:cxn modelId="{FAB785C0-C1DD-4599-B9BC-110AE5A1CA30}" type="presParOf" srcId="{0163FC56-B679-4541-A5D4-A1232AF91906}" destId="{B47E13CB-5C6E-4344-9FBF-3DD2BA5D8F89}" srcOrd="15" destOrd="0" presId="urn:microsoft.com/office/officeart/2011/layout/CircleProcess"/>
    <dgm:cxn modelId="{7D6A6B19-0A4E-4A82-BC7C-A27231B4CE22}" type="presParOf" srcId="{B47E13CB-5C6E-4344-9FBF-3DD2BA5D8F89}" destId="{F9CEEBFC-7A03-4473-B9CB-A24A09D23511}" srcOrd="0" destOrd="0" presId="urn:microsoft.com/office/officeart/2011/layout/CircleProcess"/>
    <dgm:cxn modelId="{DC76278A-A7DA-499D-B65A-50EF901EFE21}" type="presParOf" srcId="{0163FC56-B679-4541-A5D4-A1232AF91906}" destId="{481F056C-075E-469B-AEF8-4A86533FAFC4}" srcOrd="16" destOrd="0" presId="urn:microsoft.com/office/officeart/2011/layout/CircleProcess"/>
    <dgm:cxn modelId="{647148FC-A835-40E9-B06C-03BFBA05604A}" type="presParOf" srcId="{481F056C-075E-469B-AEF8-4A86533FAFC4}" destId="{C822F2A8-6544-460B-86EC-34AA454A69BD}" srcOrd="0" destOrd="0" presId="urn:microsoft.com/office/officeart/2011/layout/CircleProcess"/>
    <dgm:cxn modelId="{FFB12B32-6B34-46EF-84BE-AC7ED05E204C}" type="presParOf" srcId="{0163FC56-B679-4541-A5D4-A1232AF91906}" destId="{718AE378-56F9-4A0B-85AA-2B7487DD3764}" srcOrd="17"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EAD634-E036-4021-A0D6-76EBA8A1EAA0}" type="doc">
      <dgm:prSet loTypeId="urn:microsoft.com/office/officeart/2005/8/layout/pList2" loCatId="list" qsTypeId="urn:microsoft.com/office/officeart/2005/8/quickstyle/simple5" qsCatId="simple" csTypeId="urn:microsoft.com/office/officeart/2005/8/colors/accent0_3" csCatId="mainScheme" phldr="1"/>
      <dgm:spPr/>
    </dgm:pt>
    <dgm:pt modelId="{502C5108-820F-4B36-BE56-62788306C239}">
      <dgm:prSet phldrT="[Text]" custT="1"/>
      <dgm:spPr/>
      <dgm:t>
        <a:bodyPr/>
        <a:lstStyle/>
        <a:p>
          <a:pPr algn="l">
            <a:buFont typeface="+mj-lt"/>
            <a:buAutoNum type="arabicPeriod"/>
          </a:pPr>
          <a:r>
            <a:rPr lang="en-IN" sz="14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Umang app</a:t>
          </a:r>
          <a:r>
            <a:rPr lang="en-IN" sz="14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buFont typeface="+mj-lt"/>
            <a:buAutoNum type="arabicPeriod"/>
          </a:pP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he Umang app allows users to see their EPF Passbook, submit claims, and track their claims through mobile phones. To get started, enter your UAN- registered mobile number and complete one-time registration. </a:t>
          </a:r>
          <a:endParaRPr lang="en-IN" sz="1100" b="0" cap="none" spc="0" dirty="0">
            <a:ln w="0"/>
            <a:effectLst>
              <a:outerShdw blurRad="38100" dist="19050" dir="2700000" algn="tl" rotWithShape="0">
                <a:schemeClr val="dk1">
                  <a:alpha val="40000"/>
                </a:schemeClr>
              </a:outerShdw>
            </a:effectLst>
          </a:endParaRPr>
        </a:p>
      </dgm:t>
    </dgm:pt>
    <dgm:pt modelId="{71059DF0-064F-4D29-8A11-A93ECAA27BC9}" type="parTrans" cxnId="{8D1F7527-942C-456C-8411-E1358C92DD2D}">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E25BC594-AAD2-4ED5-AEB3-D5F81D9535C9}" type="sibTrans" cxnId="{8D1F7527-942C-456C-8411-E1358C92DD2D}">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6D9B4599-0260-49F5-A7A1-C25F034D8329}">
      <dgm:prSet phldrT="[Text]" custT="1"/>
      <dgm:spPr/>
      <dgm:t>
        <a:bodyPr/>
        <a:lstStyle/>
        <a:p>
          <a:pPr algn="l">
            <a:buFont typeface="+mj-lt"/>
            <a:buAutoNum type="arabicPeriod"/>
          </a:pPr>
          <a:r>
            <a:rPr lang="en-IN" sz="14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EPFO Portal</a:t>
          </a:r>
          <a:r>
            <a:rPr lang="en-IN" sz="14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buFont typeface="+mj-lt"/>
            <a:buAutoNum type="arabicPeriod"/>
          </a:pP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You </a:t>
          </a:r>
          <a:r>
            <a:rPr lang="en-IN" sz="1100" b="0" cap="none" spc="0">
              <a:ln w="0"/>
              <a:effectLst>
                <a:outerShdw blurRad="38100" dist="19050" dir="2700000" algn="tl" rotWithShape="0">
                  <a:schemeClr val="dk1">
                    <a:alpha val="40000"/>
                  </a:schemeClr>
                </a:outerShdw>
              </a:effectLst>
              <a:latin typeface="Calibri" panose="020F0502020204030204" pitchFamily="34" charset="0"/>
              <a:ea typeface="Times New Roman" panose="02020603050405020304" pitchFamily="18" charset="0"/>
            </a:rPr>
            <a:t>must </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go to </a:t>
          </a:r>
          <a:r>
            <a:rPr lang="en-IN" sz="11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hlinkClick xmlns:r="http://schemas.openxmlformats.org/officeDocument/2006/relationships" r:id="rId1">
                <a:extLst>
                  <a:ext uri="{A12FA001-AC4F-418D-AE19-62706E023703}">
                    <ahyp:hlinkClr xmlns:ahyp="http://schemas.microsoft.com/office/drawing/2018/hyperlinkcolor" val="tx"/>
                  </a:ext>
                </a:extLst>
              </a:hlinkClick>
            </a:rPr>
            <a:t>https://passbook.epfindia.gov.in/MemberPassBook/Loginand</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 Enter your UAN and password to check your balance.</a:t>
          </a:r>
          <a:endParaRPr lang="en-IN" sz="1100" b="0" cap="none" spc="0" dirty="0">
            <a:ln w="0"/>
            <a:effectLst>
              <a:outerShdw blurRad="38100" dist="19050" dir="2700000" algn="tl" rotWithShape="0">
                <a:schemeClr val="dk1">
                  <a:alpha val="40000"/>
                </a:schemeClr>
              </a:outerShdw>
            </a:effectLst>
          </a:endParaRPr>
        </a:p>
      </dgm:t>
    </dgm:pt>
    <dgm:pt modelId="{C2E11870-0CE7-4F2E-B7F2-0AF29E77442D}" type="parTrans" cxnId="{9716FED6-7D8D-4759-869E-1F712C99E374}">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A5BC445E-9C85-404C-9C22-F16BC49C9A44}" type="sibTrans" cxnId="{9716FED6-7D8D-4759-869E-1F712C99E374}">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8B3F589D-1AB9-4707-9F32-0F033518C4E2}">
      <dgm:prSet phldrT="[Text]" custT="1"/>
      <dgm:spPr/>
      <dgm:t>
        <a:bodyPr/>
        <a:lstStyle/>
        <a:p>
          <a:pPr algn="l"/>
          <a:r>
            <a:rPr lang="en-IN" sz="1400" b="0" u="sng"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SMS facility</a:t>
          </a:r>
          <a:r>
            <a:rPr lang="en-IN" sz="14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r>
            <a:rPr lang="en-IN" sz="1100" b="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o check the balance of your EPF account, send an SMS to 7738299899. EPFOHO UAN is the format in which the message must be sent. To get this message in a language other than English, include the first three characters of the desired language in the message.</a:t>
          </a:r>
          <a:endParaRPr lang="en-IN" sz="1100" b="0" cap="none" spc="0" dirty="0">
            <a:ln w="0"/>
            <a:effectLst>
              <a:outerShdw blurRad="38100" dist="19050" dir="2700000" algn="tl" rotWithShape="0">
                <a:schemeClr val="dk1">
                  <a:alpha val="40000"/>
                </a:schemeClr>
              </a:outerShdw>
            </a:effectLst>
          </a:endParaRPr>
        </a:p>
      </dgm:t>
    </dgm:pt>
    <dgm:pt modelId="{3F5683A2-E69F-422A-B739-EB63A068C3DC}" type="parTrans" cxnId="{64FCF298-2F24-4D0F-94F9-579B38FDCF8B}">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FCEDAD90-8896-4441-A1A3-030B29D2D842}" type="sibTrans" cxnId="{64FCF298-2F24-4D0F-94F9-579B38FDCF8B}">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FAE8D2D9-9011-4952-8058-5583AAAC0E49}">
      <dgm:prSet/>
      <dgm:spPr/>
      <dgm:t>
        <a:bodyPr/>
        <a:lstStyle/>
        <a:p>
          <a:pPr algn="l"/>
          <a:endParaRPr lang="en-IN" sz="900" b="0" cap="none" spc="0" dirty="0">
            <a:ln w="0"/>
            <a:solidFill>
              <a:schemeClr val="bg1"/>
            </a:solidFill>
            <a:effectLst>
              <a:outerShdw blurRad="38100" dist="19050" dir="2700000" algn="tl" rotWithShape="0">
                <a:schemeClr val="dk1">
                  <a:alpha val="40000"/>
                </a:schemeClr>
              </a:outerShdw>
            </a:effectLst>
          </a:endParaRPr>
        </a:p>
      </dgm:t>
    </dgm:pt>
    <dgm:pt modelId="{B21489B0-C47E-4C7F-BB2A-9844E9923BAC}" type="parTrans" cxnId="{53A4300E-E1AA-4586-AAB5-A2F3DC2BFF0E}">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C6F77F1C-AD1C-43F9-8B0F-2EFBE41E9A62}" type="sibTrans" cxnId="{53A4300E-E1AA-4586-AAB5-A2F3DC2BFF0E}">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E018974C-7F9C-4F26-A668-E5BCEFB38C85}">
      <dgm:prSet custT="1"/>
      <dgm:spPr/>
      <dgm:t>
        <a:bodyPr/>
        <a:lstStyle/>
        <a:p>
          <a:pPr algn="l"/>
          <a:r>
            <a:rPr lang="en-IN" sz="1400" b="0" u="sng"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Missed call facility</a:t>
          </a:r>
          <a:r>
            <a:rPr lang="en-IN" sz="1400" b="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500" b="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algn="l"/>
          <a:r>
            <a:rPr lang="en-IN" sz="1100" b="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By initiating a missed call to 011-22901406 an EPFO member can check the balance of their EPF account. In order to use this service, a member must have Universal Account Number (UAN). This service is provided without charge. </a:t>
          </a:r>
          <a:endParaRPr lang="en-IN" sz="1100" b="0" cap="none" spc="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endParaRPr>
        </a:p>
      </dgm:t>
    </dgm:pt>
    <dgm:pt modelId="{D9B42E39-0C04-4E93-9CF8-202D02D84924}" type="parTrans" cxnId="{7918A60A-351A-437B-948D-DBD9A6839B57}">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0A455B4C-23FB-4674-925E-07C8A21AD4B0}" type="sibTrans" cxnId="{7918A60A-351A-437B-948D-DBD9A6839B57}">
      <dgm:prSet/>
      <dgm:spPr/>
      <dgm:t>
        <a:bodyPr/>
        <a:lstStyle/>
        <a:p>
          <a:pPr algn="l"/>
          <a:endParaRPr lang="en-IN" b="0" cap="none" spc="0">
            <a:ln w="0"/>
            <a:solidFill>
              <a:schemeClr val="bg1"/>
            </a:solidFill>
            <a:effectLst>
              <a:outerShdw blurRad="38100" dist="19050" dir="2700000" algn="tl" rotWithShape="0">
                <a:schemeClr val="dk1">
                  <a:alpha val="40000"/>
                </a:schemeClr>
              </a:outerShdw>
            </a:effectLst>
          </a:endParaRPr>
        </a:p>
      </dgm:t>
    </dgm:pt>
    <dgm:pt modelId="{4DAC9BCF-AA7B-4FA6-B013-A97968E1A742}" type="pres">
      <dgm:prSet presAssocID="{43EAD634-E036-4021-A0D6-76EBA8A1EAA0}" presName="Name0" presStyleCnt="0">
        <dgm:presLayoutVars>
          <dgm:dir/>
          <dgm:resizeHandles val="exact"/>
        </dgm:presLayoutVars>
      </dgm:prSet>
      <dgm:spPr/>
    </dgm:pt>
    <dgm:pt modelId="{8CE18C72-D3BE-4BD3-BA55-415BC516F476}" type="pres">
      <dgm:prSet presAssocID="{43EAD634-E036-4021-A0D6-76EBA8A1EAA0}" presName="bkgdShp" presStyleLbl="alignAccFollowNode1" presStyleIdx="0" presStyleCnt="1"/>
      <dgm:spPr/>
    </dgm:pt>
    <dgm:pt modelId="{B3C1CAAE-0707-4958-BED2-521D1F7E03F7}" type="pres">
      <dgm:prSet presAssocID="{43EAD634-E036-4021-A0D6-76EBA8A1EAA0}" presName="linComp" presStyleCnt="0"/>
      <dgm:spPr/>
    </dgm:pt>
    <dgm:pt modelId="{0AC233D1-A835-42CF-9211-5EC1A836B1B4}" type="pres">
      <dgm:prSet presAssocID="{502C5108-820F-4B36-BE56-62788306C239}" presName="compNode" presStyleCnt="0"/>
      <dgm:spPr/>
    </dgm:pt>
    <dgm:pt modelId="{1C0CDAF3-AE73-4315-ACA8-BAAA8B8DC2E0}" type="pres">
      <dgm:prSet presAssocID="{502C5108-820F-4B36-BE56-62788306C239}" presName="node" presStyleLbl="node1" presStyleIdx="0" presStyleCnt="4">
        <dgm:presLayoutVars>
          <dgm:bulletEnabled val="1"/>
        </dgm:presLayoutVars>
      </dgm:prSet>
      <dgm:spPr/>
    </dgm:pt>
    <dgm:pt modelId="{29FC01D3-4D23-49FC-94E3-B01F666FDAAD}" type="pres">
      <dgm:prSet presAssocID="{502C5108-820F-4B36-BE56-62788306C239}" presName="invisiNode" presStyleLbl="node1" presStyleIdx="0" presStyleCnt="4"/>
      <dgm:spPr/>
    </dgm:pt>
    <dgm:pt modelId="{AE7A94F5-2BF8-4B06-BB2A-13E3CC9CAFF3}" type="pres">
      <dgm:prSet presAssocID="{502C5108-820F-4B36-BE56-62788306C239}" presName="imagNode" presStyleLbl="fgImgPlace1" presStyleIdx="0" presStyleCnt="4" custScaleX="93098"/>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A0A0BF6F-DC84-455D-98A0-0B1A2F87B782}" type="pres">
      <dgm:prSet presAssocID="{E25BC594-AAD2-4ED5-AEB3-D5F81D9535C9}" presName="sibTrans" presStyleLbl="sibTrans2D1" presStyleIdx="0" presStyleCnt="0"/>
      <dgm:spPr/>
    </dgm:pt>
    <dgm:pt modelId="{0384FFDD-0E1E-4E4A-B53B-D2DC30D09BB9}" type="pres">
      <dgm:prSet presAssocID="{6D9B4599-0260-49F5-A7A1-C25F034D8329}" presName="compNode" presStyleCnt="0"/>
      <dgm:spPr/>
    </dgm:pt>
    <dgm:pt modelId="{C661696D-06CE-45BA-AE14-A4A87A5FA2B2}" type="pres">
      <dgm:prSet presAssocID="{6D9B4599-0260-49F5-A7A1-C25F034D8329}" presName="node" presStyleLbl="node1" presStyleIdx="1" presStyleCnt="4">
        <dgm:presLayoutVars>
          <dgm:bulletEnabled val="1"/>
        </dgm:presLayoutVars>
      </dgm:prSet>
      <dgm:spPr/>
    </dgm:pt>
    <dgm:pt modelId="{58222C43-4EE6-4433-9AC9-0BDF810C4270}" type="pres">
      <dgm:prSet presAssocID="{6D9B4599-0260-49F5-A7A1-C25F034D8329}" presName="invisiNode" presStyleLbl="node1" presStyleIdx="1" presStyleCnt="4"/>
      <dgm:spPr/>
    </dgm:pt>
    <dgm:pt modelId="{C04E1172-C2E6-4F73-85FC-2185EF08F986}" type="pres">
      <dgm:prSet presAssocID="{6D9B4599-0260-49F5-A7A1-C25F034D8329}" presName="imagNode" presStyleLbl="fgImgPlace1" presStyleIdx="1" presStyleCnt="4" custScaleX="9044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77F80F82-F240-4EDB-A418-04EBCE94440F}" type="pres">
      <dgm:prSet presAssocID="{A5BC445E-9C85-404C-9C22-F16BC49C9A44}" presName="sibTrans" presStyleLbl="sibTrans2D1" presStyleIdx="0" presStyleCnt="0"/>
      <dgm:spPr/>
    </dgm:pt>
    <dgm:pt modelId="{565B5DF2-8ABA-4956-A8E6-B2DEA2FFC4D7}" type="pres">
      <dgm:prSet presAssocID="{8B3F589D-1AB9-4707-9F32-0F033518C4E2}" presName="compNode" presStyleCnt="0"/>
      <dgm:spPr/>
    </dgm:pt>
    <dgm:pt modelId="{22C82271-D363-4510-9B52-8B172D70F7F8}" type="pres">
      <dgm:prSet presAssocID="{8B3F589D-1AB9-4707-9F32-0F033518C4E2}" presName="node" presStyleLbl="node1" presStyleIdx="2" presStyleCnt="4">
        <dgm:presLayoutVars>
          <dgm:bulletEnabled val="1"/>
        </dgm:presLayoutVars>
      </dgm:prSet>
      <dgm:spPr/>
    </dgm:pt>
    <dgm:pt modelId="{D9852678-A584-478F-AA60-41B57187252D}" type="pres">
      <dgm:prSet presAssocID="{8B3F589D-1AB9-4707-9F32-0F033518C4E2}" presName="invisiNode" presStyleLbl="node1" presStyleIdx="2" presStyleCnt="4"/>
      <dgm:spPr/>
    </dgm:pt>
    <dgm:pt modelId="{601CB387-E365-4086-8D37-77EA2725C016}" type="pres">
      <dgm:prSet presAssocID="{8B3F589D-1AB9-4707-9F32-0F033518C4E2}" presName="imagNode" presStyleLbl="fgImgPlace1" presStyleIdx="2" presStyleCnt="4" custScaleX="92217"/>
      <dgm:spPr>
        <a:blipFill>
          <a:blip xmlns:r="http://schemas.openxmlformats.org/officeDocument/2006/relationships" r:embed="rId4">
            <a:extLst>
              <a:ext uri="{28A0092B-C50C-407E-A947-70E740481C1C}">
                <a14:useLocalDpi xmlns:a14="http://schemas.microsoft.com/office/drawing/2010/main" val="0"/>
              </a:ext>
            </a:extLst>
          </a:blip>
          <a:srcRect/>
          <a:stretch>
            <a:fillRect l="-38000" r="-38000"/>
          </a:stretch>
        </a:blipFill>
      </dgm:spPr>
    </dgm:pt>
    <dgm:pt modelId="{52F29F81-7386-4022-9BA1-2D0D47A917A3}" type="pres">
      <dgm:prSet presAssocID="{FCEDAD90-8896-4441-A1A3-030B29D2D842}" presName="sibTrans" presStyleLbl="sibTrans2D1" presStyleIdx="0" presStyleCnt="0"/>
      <dgm:spPr/>
    </dgm:pt>
    <dgm:pt modelId="{59DED6A4-9C63-462D-9A50-A686B79A81A9}" type="pres">
      <dgm:prSet presAssocID="{E018974C-7F9C-4F26-A668-E5BCEFB38C85}" presName="compNode" presStyleCnt="0"/>
      <dgm:spPr/>
    </dgm:pt>
    <dgm:pt modelId="{45B86AA9-CE7C-4CD1-800F-199CA6A20C09}" type="pres">
      <dgm:prSet presAssocID="{E018974C-7F9C-4F26-A668-E5BCEFB38C85}" presName="node" presStyleLbl="node1" presStyleIdx="3" presStyleCnt="4">
        <dgm:presLayoutVars>
          <dgm:bulletEnabled val="1"/>
        </dgm:presLayoutVars>
      </dgm:prSet>
      <dgm:spPr/>
    </dgm:pt>
    <dgm:pt modelId="{9EC8945F-23D7-4AE4-8282-4EF4AE9EE388}" type="pres">
      <dgm:prSet presAssocID="{E018974C-7F9C-4F26-A668-E5BCEFB38C85}" presName="invisiNode" presStyleLbl="node1" presStyleIdx="3" presStyleCnt="4"/>
      <dgm:spPr/>
    </dgm:pt>
    <dgm:pt modelId="{49156BFF-199A-44D0-AFD3-1EC289484CF3}" type="pres">
      <dgm:prSet presAssocID="{E018974C-7F9C-4F26-A668-E5BCEFB38C85}" presName="imagNode" presStyleLbl="fgImgPlace1" presStyleIdx="3" presStyleCnt="4" custScaleX="91334"/>
      <dgm:spPr>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Lst>
  <dgm:cxnLst>
    <dgm:cxn modelId="{211C2D03-7E33-44C0-9AC6-885A23EDFB41}" type="presOf" srcId="{FCEDAD90-8896-4441-A1A3-030B29D2D842}" destId="{52F29F81-7386-4022-9BA1-2D0D47A917A3}" srcOrd="0" destOrd="0" presId="urn:microsoft.com/office/officeart/2005/8/layout/pList2"/>
    <dgm:cxn modelId="{CABB6404-25E0-4E6F-970E-3DF66AEABE94}" type="presOf" srcId="{6D9B4599-0260-49F5-A7A1-C25F034D8329}" destId="{C661696D-06CE-45BA-AE14-A4A87A5FA2B2}" srcOrd="0" destOrd="0" presId="urn:microsoft.com/office/officeart/2005/8/layout/pList2"/>
    <dgm:cxn modelId="{7918A60A-351A-437B-948D-DBD9A6839B57}" srcId="{43EAD634-E036-4021-A0D6-76EBA8A1EAA0}" destId="{E018974C-7F9C-4F26-A668-E5BCEFB38C85}" srcOrd="3" destOrd="0" parTransId="{D9B42E39-0C04-4E93-9CF8-202D02D84924}" sibTransId="{0A455B4C-23FB-4674-925E-07C8A21AD4B0}"/>
    <dgm:cxn modelId="{53A4300E-E1AA-4586-AAB5-A2F3DC2BFF0E}" srcId="{8B3F589D-1AB9-4707-9F32-0F033518C4E2}" destId="{FAE8D2D9-9011-4952-8058-5583AAAC0E49}" srcOrd="0" destOrd="0" parTransId="{B21489B0-C47E-4C7F-BB2A-9844E9923BAC}" sibTransId="{C6F77F1C-AD1C-43F9-8B0F-2EFBE41E9A62}"/>
    <dgm:cxn modelId="{323A1F15-282D-4D1C-9429-27066227CAE6}" type="presOf" srcId="{E25BC594-AAD2-4ED5-AEB3-D5F81D9535C9}" destId="{A0A0BF6F-DC84-455D-98A0-0B1A2F87B782}" srcOrd="0" destOrd="0" presId="urn:microsoft.com/office/officeart/2005/8/layout/pList2"/>
    <dgm:cxn modelId="{8D1F7527-942C-456C-8411-E1358C92DD2D}" srcId="{43EAD634-E036-4021-A0D6-76EBA8A1EAA0}" destId="{502C5108-820F-4B36-BE56-62788306C239}" srcOrd="0" destOrd="0" parTransId="{71059DF0-064F-4D29-8A11-A93ECAA27BC9}" sibTransId="{E25BC594-AAD2-4ED5-AEB3-D5F81D9535C9}"/>
    <dgm:cxn modelId="{7DFCD961-F0E9-408C-AAA7-5169B051BB6C}" type="presOf" srcId="{43EAD634-E036-4021-A0D6-76EBA8A1EAA0}" destId="{4DAC9BCF-AA7B-4FA6-B013-A97968E1A742}" srcOrd="0" destOrd="0" presId="urn:microsoft.com/office/officeart/2005/8/layout/pList2"/>
    <dgm:cxn modelId="{F1D9176A-3E7B-41D3-A13E-72BBDF0644AF}" type="presOf" srcId="{502C5108-820F-4B36-BE56-62788306C239}" destId="{1C0CDAF3-AE73-4315-ACA8-BAAA8B8DC2E0}" srcOrd="0" destOrd="0" presId="urn:microsoft.com/office/officeart/2005/8/layout/pList2"/>
    <dgm:cxn modelId="{89A0B375-63A8-429D-B1D1-DD52CD410425}" type="presOf" srcId="{E018974C-7F9C-4F26-A668-E5BCEFB38C85}" destId="{45B86AA9-CE7C-4CD1-800F-199CA6A20C09}" srcOrd="0" destOrd="0" presId="urn:microsoft.com/office/officeart/2005/8/layout/pList2"/>
    <dgm:cxn modelId="{64FCF298-2F24-4D0F-94F9-579B38FDCF8B}" srcId="{43EAD634-E036-4021-A0D6-76EBA8A1EAA0}" destId="{8B3F589D-1AB9-4707-9F32-0F033518C4E2}" srcOrd="2" destOrd="0" parTransId="{3F5683A2-E69F-422A-B739-EB63A068C3DC}" sibTransId="{FCEDAD90-8896-4441-A1A3-030B29D2D842}"/>
    <dgm:cxn modelId="{7BB1F0CE-C324-453B-A83C-6667B35D5E6D}" type="presOf" srcId="{A5BC445E-9C85-404C-9C22-F16BC49C9A44}" destId="{77F80F82-F240-4EDB-A418-04EBCE94440F}" srcOrd="0" destOrd="0" presId="urn:microsoft.com/office/officeart/2005/8/layout/pList2"/>
    <dgm:cxn modelId="{9716FED6-7D8D-4759-869E-1F712C99E374}" srcId="{43EAD634-E036-4021-A0D6-76EBA8A1EAA0}" destId="{6D9B4599-0260-49F5-A7A1-C25F034D8329}" srcOrd="1" destOrd="0" parTransId="{C2E11870-0CE7-4F2E-B7F2-0AF29E77442D}" sibTransId="{A5BC445E-9C85-404C-9C22-F16BC49C9A44}"/>
    <dgm:cxn modelId="{7B2CB5F9-C18D-4ECC-BBBD-DC77E69DB0E2}" type="presOf" srcId="{8B3F589D-1AB9-4707-9F32-0F033518C4E2}" destId="{22C82271-D363-4510-9B52-8B172D70F7F8}" srcOrd="0" destOrd="0" presId="urn:microsoft.com/office/officeart/2005/8/layout/pList2"/>
    <dgm:cxn modelId="{C8635DFC-381A-4F01-8ED3-A72EC7888F9E}" type="presOf" srcId="{FAE8D2D9-9011-4952-8058-5583AAAC0E49}" destId="{22C82271-D363-4510-9B52-8B172D70F7F8}" srcOrd="0" destOrd="1" presId="urn:microsoft.com/office/officeart/2005/8/layout/pList2"/>
    <dgm:cxn modelId="{A615F2C9-04F1-4000-BE1F-AE87F7C2A15D}" type="presParOf" srcId="{4DAC9BCF-AA7B-4FA6-B013-A97968E1A742}" destId="{8CE18C72-D3BE-4BD3-BA55-415BC516F476}" srcOrd="0" destOrd="0" presId="urn:microsoft.com/office/officeart/2005/8/layout/pList2"/>
    <dgm:cxn modelId="{9F0037CC-8307-4478-A526-849D45B47E17}" type="presParOf" srcId="{4DAC9BCF-AA7B-4FA6-B013-A97968E1A742}" destId="{B3C1CAAE-0707-4958-BED2-521D1F7E03F7}" srcOrd="1" destOrd="0" presId="urn:microsoft.com/office/officeart/2005/8/layout/pList2"/>
    <dgm:cxn modelId="{4CC9088B-C4FE-4480-AF73-F9923653E08F}" type="presParOf" srcId="{B3C1CAAE-0707-4958-BED2-521D1F7E03F7}" destId="{0AC233D1-A835-42CF-9211-5EC1A836B1B4}" srcOrd="0" destOrd="0" presId="urn:microsoft.com/office/officeart/2005/8/layout/pList2"/>
    <dgm:cxn modelId="{88CC7878-CCBC-4917-ADE8-BCAB810BDE13}" type="presParOf" srcId="{0AC233D1-A835-42CF-9211-5EC1A836B1B4}" destId="{1C0CDAF3-AE73-4315-ACA8-BAAA8B8DC2E0}" srcOrd="0" destOrd="0" presId="urn:microsoft.com/office/officeart/2005/8/layout/pList2"/>
    <dgm:cxn modelId="{C236067B-2DE4-4A14-8DA1-7EACDBEF3A8A}" type="presParOf" srcId="{0AC233D1-A835-42CF-9211-5EC1A836B1B4}" destId="{29FC01D3-4D23-49FC-94E3-B01F666FDAAD}" srcOrd="1" destOrd="0" presId="urn:microsoft.com/office/officeart/2005/8/layout/pList2"/>
    <dgm:cxn modelId="{15F0B15B-76F4-4242-9F29-E5DADD636B90}" type="presParOf" srcId="{0AC233D1-A835-42CF-9211-5EC1A836B1B4}" destId="{AE7A94F5-2BF8-4B06-BB2A-13E3CC9CAFF3}" srcOrd="2" destOrd="0" presId="urn:microsoft.com/office/officeart/2005/8/layout/pList2"/>
    <dgm:cxn modelId="{10A928EC-CFE8-4450-B0C7-EAB0D080B78E}" type="presParOf" srcId="{B3C1CAAE-0707-4958-BED2-521D1F7E03F7}" destId="{A0A0BF6F-DC84-455D-98A0-0B1A2F87B782}" srcOrd="1" destOrd="0" presId="urn:microsoft.com/office/officeart/2005/8/layout/pList2"/>
    <dgm:cxn modelId="{6C10AE7C-45A7-4728-B011-ADD26C230824}" type="presParOf" srcId="{B3C1CAAE-0707-4958-BED2-521D1F7E03F7}" destId="{0384FFDD-0E1E-4E4A-B53B-D2DC30D09BB9}" srcOrd="2" destOrd="0" presId="urn:microsoft.com/office/officeart/2005/8/layout/pList2"/>
    <dgm:cxn modelId="{4049485F-D950-4B16-B3B7-E05931ED6F87}" type="presParOf" srcId="{0384FFDD-0E1E-4E4A-B53B-D2DC30D09BB9}" destId="{C661696D-06CE-45BA-AE14-A4A87A5FA2B2}" srcOrd="0" destOrd="0" presId="urn:microsoft.com/office/officeart/2005/8/layout/pList2"/>
    <dgm:cxn modelId="{14C5EC5D-A9A4-4DA8-A661-35B725D45B87}" type="presParOf" srcId="{0384FFDD-0E1E-4E4A-B53B-D2DC30D09BB9}" destId="{58222C43-4EE6-4433-9AC9-0BDF810C4270}" srcOrd="1" destOrd="0" presId="urn:microsoft.com/office/officeart/2005/8/layout/pList2"/>
    <dgm:cxn modelId="{FCB702EC-E420-4700-BC76-C9F368348050}" type="presParOf" srcId="{0384FFDD-0E1E-4E4A-B53B-D2DC30D09BB9}" destId="{C04E1172-C2E6-4F73-85FC-2185EF08F986}" srcOrd="2" destOrd="0" presId="urn:microsoft.com/office/officeart/2005/8/layout/pList2"/>
    <dgm:cxn modelId="{A7090C36-E71E-4650-A296-6D0436F8BC34}" type="presParOf" srcId="{B3C1CAAE-0707-4958-BED2-521D1F7E03F7}" destId="{77F80F82-F240-4EDB-A418-04EBCE94440F}" srcOrd="3" destOrd="0" presId="urn:microsoft.com/office/officeart/2005/8/layout/pList2"/>
    <dgm:cxn modelId="{F4DEE195-A847-497A-BA4D-B913E6E2FFD4}" type="presParOf" srcId="{B3C1CAAE-0707-4958-BED2-521D1F7E03F7}" destId="{565B5DF2-8ABA-4956-A8E6-B2DEA2FFC4D7}" srcOrd="4" destOrd="0" presId="urn:microsoft.com/office/officeart/2005/8/layout/pList2"/>
    <dgm:cxn modelId="{6942A3B3-62FC-46C7-9476-88C4C4C2074D}" type="presParOf" srcId="{565B5DF2-8ABA-4956-A8E6-B2DEA2FFC4D7}" destId="{22C82271-D363-4510-9B52-8B172D70F7F8}" srcOrd="0" destOrd="0" presId="urn:microsoft.com/office/officeart/2005/8/layout/pList2"/>
    <dgm:cxn modelId="{F3C8B717-BB93-4113-BB68-5CE9CB9BB6FA}" type="presParOf" srcId="{565B5DF2-8ABA-4956-A8E6-B2DEA2FFC4D7}" destId="{D9852678-A584-478F-AA60-41B57187252D}" srcOrd="1" destOrd="0" presId="urn:microsoft.com/office/officeart/2005/8/layout/pList2"/>
    <dgm:cxn modelId="{2FD9A8ED-E3D0-4E87-A76C-4FB188750D88}" type="presParOf" srcId="{565B5DF2-8ABA-4956-A8E6-B2DEA2FFC4D7}" destId="{601CB387-E365-4086-8D37-77EA2725C016}" srcOrd="2" destOrd="0" presId="urn:microsoft.com/office/officeart/2005/8/layout/pList2"/>
    <dgm:cxn modelId="{2AB0D06C-05F1-4505-BBFB-6D982BED6C06}" type="presParOf" srcId="{B3C1CAAE-0707-4958-BED2-521D1F7E03F7}" destId="{52F29F81-7386-4022-9BA1-2D0D47A917A3}" srcOrd="5" destOrd="0" presId="urn:microsoft.com/office/officeart/2005/8/layout/pList2"/>
    <dgm:cxn modelId="{058BA35F-A859-412C-9325-8EA7EFBDC9EF}" type="presParOf" srcId="{B3C1CAAE-0707-4958-BED2-521D1F7E03F7}" destId="{59DED6A4-9C63-462D-9A50-A686B79A81A9}" srcOrd="6" destOrd="0" presId="urn:microsoft.com/office/officeart/2005/8/layout/pList2"/>
    <dgm:cxn modelId="{9CF50F52-9C30-49CB-9860-B5A00460601C}" type="presParOf" srcId="{59DED6A4-9C63-462D-9A50-A686B79A81A9}" destId="{45B86AA9-CE7C-4CD1-800F-199CA6A20C09}" srcOrd="0" destOrd="0" presId="urn:microsoft.com/office/officeart/2005/8/layout/pList2"/>
    <dgm:cxn modelId="{865B4F9B-CC4C-46EA-9C6E-540D588ED131}" type="presParOf" srcId="{59DED6A4-9C63-462D-9A50-A686B79A81A9}" destId="{9EC8945F-23D7-4AE4-8282-4EF4AE9EE388}" srcOrd="1" destOrd="0" presId="urn:microsoft.com/office/officeart/2005/8/layout/pList2"/>
    <dgm:cxn modelId="{4D2073CB-ED4D-4E7C-917B-63435103F8B2}" type="presParOf" srcId="{59DED6A4-9C63-462D-9A50-A686B79A81A9}" destId="{49156BFF-199A-44D0-AFD3-1EC289484CF3}"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BC1331C-2E75-4ECD-A678-9A30C9D909E2}" type="doc">
      <dgm:prSet loTypeId="urn:microsoft.com/office/officeart/2005/8/layout/bList2" loCatId="list" qsTypeId="urn:microsoft.com/office/officeart/2005/8/quickstyle/simple5" qsCatId="simple" csTypeId="urn:microsoft.com/office/officeart/2005/8/colors/accent1_2" csCatId="accent1" phldr="1"/>
      <dgm:spPr/>
    </dgm:pt>
    <dgm:pt modelId="{6311FD7F-F0D6-4944-8593-99C24D8824AB}">
      <dgm:prSet phldrT="[Text]" custT="1"/>
      <dgm:spPr/>
      <dgm:t>
        <a:bodyPr/>
        <a:lstStyle/>
        <a:p>
          <a:r>
            <a:rPr lang="en-IN" sz="1200" b="1" dirty="0">
              <a:latin typeface="Verdana" panose="020B0604030504040204" pitchFamily="34" charset="0"/>
              <a:ea typeface="Verdana" panose="020B0604030504040204" pitchFamily="34" charset="0"/>
            </a:rPr>
            <a:t>EPFO Contact Details</a:t>
          </a:r>
        </a:p>
      </dgm:t>
    </dgm:pt>
    <dgm:pt modelId="{A78CD1AF-C5FE-4B53-A25B-92E2D1306150}" type="parTrans" cxnId="{666CE0BF-C68F-40D6-8C99-CA177432D162}">
      <dgm:prSet/>
      <dgm:spPr/>
      <dgm:t>
        <a:bodyPr/>
        <a:lstStyle/>
        <a:p>
          <a:endParaRPr lang="en-IN" sz="1800">
            <a:latin typeface="Verdana" panose="020B0604030504040204" pitchFamily="34" charset="0"/>
            <a:ea typeface="Verdana" panose="020B0604030504040204" pitchFamily="34" charset="0"/>
          </a:endParaRPr>
        </a:p>
      </dgm:t>
    </dgm:pt>
    <dgm:pt modelId="{2F6488FB-0789-4785-84FE-291235928ED5}" type="sibTrans" cxnId="{666CE0BF-C68F-40D6-8C99-CA177432D162}">
      <dgm:prSet/>
      <dgm:spPr/>
      <dgm:t>
        <a:bodyPr/>
        <a:lstStyle/>
        <a:p>
          <a:endParaRPr lang="en-IN" sz="1800">
            <a:latin typeface="Verdana" panose="020B0604030504040204" pitchFamily="34" charset="0"/>
            <a:ea typeface="Verdana" panose="020B0604030504040204" pitchFamily="34" charset="0"/>
          </a:endParaRPr>
        </a:p>
      </dgm:t>
    </dgm:pt>
    <dgm:pt modelId="{27408B03-5CDB-431A-A488-CD06E205F6A0}">
      <dgm:prSet phldrT="[Text]" custT="1"/>
      <dgm:spPr/>
      <dgm:t>
        <a:bodyPr/>
        <a:lstStyle/>
        <a:p>
          <a:r>
            <a:rPr lang="en-IN" sz="1200" b="1" dirty="0">
              <a:latin typeface="Verdana" panose="020B0604030504040204" pitchFamily="34" charset="0"/>
              <a:ea typeface="Verdana" panose="020B0604030504040204" pitchFamily="34" charset="0"/>
            </a:rPr>
            <a:t>Contact for Retirals Helpdesk</a:t>
          </a:r>
        </a:p>
      </dgm:t>
    </dgm:pt>
    <dgm:pt modelId="{4ADCBAE8-6A3D-48B8-857F-0BD5C03A778F}" type="par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5FC2860F-A9EA-4CD5-8A0E-5ADA41E2322B}" type="sib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FFDA63B7-22E9-4E86-A470-5473E9E0EDE5}">
      <dgm:prSet phldrT="[Text]" custT="1"/>
      <dgm:spPr/>
      <dgm:t>
        <a:bodyPr/>
        <a:lstStyle/>
        <a:p>
          <a:r>
            <a:rPr lang="en-IN" sz="1200" b="1" dirty="0">
              <a:latin typeface="Verdana" panose="020B0604030504040204" pitchFamily="34" charset="0"/>
              <a:ea typeface="Verdana" panose="020B0604030504040204" pitchFamily="34" charset="0"/>
            </a:rPr>
            <a:t>PF Withdrawal</a:t>
          </a:r>
        </a:p>
      </dgm:t>
    </dgm:pt>
    <dgm:pt modelId="{6432DE3D-CA65-4D38-A834-3E6F6515CC4D}" type="par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137D3ADA-90A7-4B39-AB0C-FDA626D81F22}" type="sib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5E3C5D30-1164-4AC0-8450-45FD4DFA6036}">
      <dgm:prSet custT="1"/>
      <dgm:spPr/>
      <dgm:t>
        <a:bodyPr/>
        <a:lstStyle/>
        <a:p>
          <a:r>
            <a:rPr lang="en-IN" sz="1200" b="1" dirty="0">
              <a:latin typeface="Verdana" panose="020B0604030504040204" pitchFamily="34" charset="0"/>
              <a:ea typeface="Verdana" panose="020B0604030504040204" pitchFamily="34" charset="0"/>
            </a:rPr>
            <a:t>PF Transfer Process</a:t>
          </a:r>
        </a:p>
      </dgm:t>
    </dgm:pt>
    <dgm:pt modelId="{67FE326E-ECFA-4CFB-B81F-42CC029AEC68}" type="par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D504C69E-8755-446A-81F2-DD218FEED201}" type="sib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B1E688A3-1D91-46E2-98DA-090CD80E0B05}">
      <dgm:prSet custT="1"/>
      <dgm:spPr/>
      <dgm:t>
        <a:bodyPr/>
        <a:lstStyle/>
        <a:p>
          <a:r>
            <a:rPr lang="en-IN" sz="1200" b="1" dirty="0">
              <a:latin typeface="Verdana" panose="020B0604030504040204" pitchFamily="34" charset="0"/>
              <a:ea typeface="Verdana" panose="020B0604030504040204" pitchFamily="34" charset="0"/>
            </a:rPr>
            <a:t>Mismatch in Aadhaar &amp; UAN Profile details</a:t>
          </a:r>
        </a:p>
      </dgm:t>
    </dgm:pt>
    <dgm:pt modelId="{0322156C-50F1-4004-839A-5137421896A7}" type="par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631F5C17-A4E4-452B-A3AE-DA06C6CFF430}" type="sib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46EDBB8C-A27B-47FB-90FF-ADE593F7DAB5}">
      <dgm:prSet custT="1"/>
      <dgm:spPr/>
      <dgm:t>
        <a:bodyPr/>
        <a:lstStyle/>
        <a:p>
          <a:r>
            <a:rPr lang="en-IN" sz="1200" b="1" dirty="0">
              <a:latin typeface="Verdana" panose="020B0604030504040204" pitchFamily="34" charset="0"/>
              <a:ea typeface="Verdana" panose="020B0604030504040204" pitchFamily="34" charset="0"/>
            </a:rPr>
            <a:t>Mandatory KYCs in PF</a:t>
          </a:r>
        </a:p>
      </dgm:t>
    </dgm:pt>
    <dgm:pt modelId="{BBE6F662-B7F6-4040-991A-49745BEB0D95}" type="par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B2155D58-6E30-4E98-A5AB-FFE24B859D08}" type="sib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9B78ADB5-DDFD-4B1E-9A95-944FC525AA3D}">
      <dgm:prSet custT="1"/>
      <dgm:spPr/>
      <dgm:t>
        <a:bodyPr/>
        <a:lstStyle/>
        <a:p>
          <a:pPr algn="just"/>
          <a:r>
            <a:rPr lang="en-IN" sz="1400" b="1" dirty="0">
              <a:latin typeface="Verdana" panose="020B0604030504040204" pitchFamily="34" charset="0"/>
              <a:ea typeface="Verdana" panose="020B0604030504040204" pitchFamily="34" charset="0"/>
            </a:rPr>
            <a:t>Aadhaar, PAN, Bank Account Details are mandatory KYCs</a:t>
          </a:r>
          <a:r>
            <a:rPr lang="en-IN" sz="1400" dirty="0">
              <a:latin typeface="Verdana" panose="020B0604030504040204" pitchFamily="34" charset="0"/>
              <a:ea typeface="Verdana" panose="020B0604030504040204" pitchFamily="34" charset="0"/>
            </a:rPr>
            <a:t> which needs to be updated in EPFO Portal. </a:t>
          </a:r>
        </a:p>
      </dgm:t>
    </dgm:pt>
    <dgm:pt modelId="{B0E73393-0328-4A94-AFCB-5BE17549BFF6}" type="par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5D80EAA9-B20E-454C-9171-ECEE4645CA6E}" type="sib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BC55DB1B-A7FE-408D-A005-E16FCACB9A82}">
      <dgm:prSet custT="1"/>
      <dgm:spPr/>
      <dgm:t>
        <a:bodyPr/>
        <a:lstStyle/>
        <a:p>
          <a:pPr algn="just"/>
          <a:r>
            <a:rPr lang="en-IN" sz="1400" dirty="0">
              <a:latin typeface="Verdana" panose="020B0604030504040204" pitchFamily="34" charset="0"/>
              <a:ea typeface="Verdana" panose="020B0604030504040204" pitchFamily="34" charset="0"/>
            </a:rPr>
            <a:t>Please raise a ticket on </a:t>
          </a:r>
          <a:r>
            <a:rPr lang="en-IN" sz="1400" b="1" dirty="0">
              <a:solidFill>
                <a:schemeClr val="tx1"/>
              </a:solidFill>
              <a:latin typeface="Verdana" panose="020B0604030504040204" pitchFamily="34" charset="0"/>
              <a:ea typeface="Verdana" panose="020B0604030504040204" pitchFamily="34" charset="0"/>
              <a:hlinkClick xmlns:r="http://schemas.openxmlformats.org/officeDocument/2006/relationships" r:id="rId1">
                <a:extLst>
                  <a:ext uri="{A12FA001-AC4F-418D-AE19-62706E023703}">
                    <ahyp:hlinkClr xmlns:ahyp="http://schemas.microsoft.com/office/drawing/2018/hyperlinkcolor" val="tx"/>
                  </a:ext>
                </a:extLst>
              </a:hlinkClick>
            </a:rPr>
            <a:t>retiralshelpdesk.in@neocasemail.com</a:t>
          </a:r>
          <a:r>
            <a:rPr lang="en-IN" sz="1400" b="1" dirty="0">
              <a:solidFill>
                <a:schemeClr val="tx1"/>
              </a:solidFill>
              <a:latin typeface="Verdana" panose="020B0604030504040204" pitchFamily="34" charset="0"/>
              <a:ea typeface="Verdana" panose="020B0604030504040204" pitchFamily="34" charset="0"/>
            </a:rPr>
            <a:t> </a:t>
          </a:r>
          <a:r>
            <a:rPr lang="en-IN" sz="1400" b="0" dirty="0">
              <a:latin typeface="Verdana" panose="020B0604030504040204" pitchFamily="34" charset="0"/>
              <a:ea typeface="Verdana" panose="020B0604030504040204" pitchFamily="34" charset="0"/>
            </a:rPr>
            <a:t>for further process  or status of your JDC.</a:t>
          </a:r>
        </a:p>
      </dgm:t>
    </dgm:pt>
    <dgm:pt modelId="{2D5EFEF6-09E5-4189-966A-47917FFC3B31}" type="par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5AC29784-F4BC-424E-A911-09E7F85BC35E}" type="sib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CE8C308E-0D8B-4951-B8B3-D3B4EBB1CC16}">
      <dgm:prSet custT="1"/>
      <dgm:spPr/>
      <dgm:t>
        <a:bodyPr/>
        <a:lstStyle/>
        <a:p>
          <a:pPr algn="just"/>
          <a:r>
            <a:rPr lang="en-IN" sz="1400" dirty="0">
              <a:latin typeface="Verdana" panose="020B0604030504040204" pitchFamily="34" charset="0"/>
              <a:ea typeface="Verdana" panose="020B0604030504040204" pitchFamily="34" charset="0"/>
            </a:rPr>
            <a:t>After </a:t>
          </a:r>
          <a:r>
            <a:rPr lang="en-IN" sz="1400" b="0" dirty="0">
              <a:latin typeface="Verdana" panose="020B0604030504040204" pitchFamily="34" charset="0"/>
              <a:ea typeface="Verdana" panose="020B0604030504040204" pitchFamily="34" charset="0"/>
            </a:rPr>
            <a:t>generation of your new PF Member ID at new Employer, raise a Transfer request through UAN Profile, </a:t>
          </a:r>
          <a:r>
            <a:rPr lang="en-IN" sz="1400" b="0" u="sng" dirty="0">
              <a:latin typeface="Verdana" panose="020B0604030504040204" pitchFamily="34" charset="0"/>
              <a:ea typeface="Verdana" panose="020B0604030504040204" pitchFamily="34" charset="0"/>
            </a:rPr>
            <a:t>auto-transfer is not possible.</a:t>
          </a:r>
        </a:p>
      </dgm:t>
    </dgm:pt>
    <dgm:pt modelId="{474DD048-8E3F-4506-A050-56BF4C2CA2F8}" type="par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FDB620C5-1F25-4E9D-8ECF-DD1524BC23EE}" type="sib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B61E5DC9-6AF7-4AD2-B7DC-9BE32C8E3980}">
      <dgm:prSet custT="1"/>
      <dgm:spPr/>
      <dgm:t>
        <a:bodyPr/>
        <a:lstStyle/>
        <a:p>
          <a:pPr algn="just"/>
          <a:r>
            <a:rPr lang="en-IN" sz="1400" dirty="0">
              <a:latin typeface="Verdana" panose="020B0604030504040204" pitchFamily="34" charset="0"/>
              <a:ea typeface="Verdana" panose="020B0604030504040204" pitchFamily="34" charset="0"/>
            </a:rPr>
            <a:t>Helpdesk Number: 1800 118 005</a:t>
          </a:r>
        </a:p>
      </dgm:t>
    </dgm:pt>
    <dgm:pt modelId="{CD9272C0-17CA-46A1-AA26-D13F8E527406}" type="parTrans" cxnId="{85B3B550-D33C-488B-9203-7942AD98F7DC}">
      <dgm:prSet/>
      <dgm:spPr/>
      <dgm:t>
        <a:bodyPr/>
        <a:lstStyle/>
        <a:p>
          <a:endParaRPr lang="en-IN" sz="1800">
            <a:latin typeface="Verdana" panose="020B0604030504040204" pitchFamily="34" charset="0"/>
            <a:ea typeface="Verdana" panose="020B0604030504040204" pitchFamily="34" charset="0"/>
          </a:endParaRPr>
        </a:p>
      </dgm:t>
    </dgm:pt>
    <dgm:pt modelId="{19A5FCF9-C3CB-4BB1-9AB8-22E2DA70ED3C}" type="sibTrans" cxnId="{85B3B550-D33C-488B-9203-7942AD98F7DC}">
      <dgm:prSet/>
      <dgm:spPr/>
      <dgm:t>
        <a:bodyPr/>
        <a:lstStyle/>
        <a:p>
          <a:endParaRPr lang="en-IN" sz="1800">
            <a:latin typeface="Verdana" panose="020B0604030504040204" pitchFamily="34" charset="0"/>
            <a:ea typeface="Verdana" panose="020B0604030504040204" pitchFamily="34" charset="0"/>
          </a:endParaRPr>
        </a:p>
      </dgm:t>
    </dgm:pt>
    <dgm:pt modelId="{13D05D3A-2F1C-4192-9BFB-A88519BE6983}">
      <dgm:prSet custT="1"/>
      <dgm:spPr/>
      <dgm:t>
        <a:bodyPr/>
        <a:lstStyle/>
        <a:p>
          <a:pPr algn="just"/>
          <a:r>
            <a:rPr lang="en-IN" sz="1400" dirty="0">
              <a:latin typeface="Verdana" panose="020B0604030504040204" pitchFamily="34" charset="0"/>
              <a:ea typeface="Verdana" panose="020B0604030504040204" pitchFamily="34" charset="0"/>
            </a:rPr>
            <a:t>Please raise a ticket on </a:t>
          </a:r>
          <a:r>
            <a:rPr lang="en-IN" sz="1400" b="1" dirty="0">
              <a:solidFill>
                <a:schemeClr val="tx1"/>
              </a:solidFill>
              <a:highlight>
                <a:srgbClr val="FFFF00"/>
              </a:highlight>
              <a:latin typeface="Verdana" panose="020B0604030504040204" pitchFamily="34" charset="0"/>
              <a:ea typeface="Verdana" panose="020B0604030504040204" pitchFamily="34" charset="0"/>
              <a:hlinkClick xmlns:r="http://schemas.openxmlformats.org/officeDocument/2006/relationships" r:id="rId1">
                <a:extLst>
                  <a:ext uri="{A12FA001-AC4F-418D-AE19-62706E023703}">
                    <ahyp:hlinkClr xmlns:ahyp="http://schemas.microsoft.com/office/drawing/2018/hyperlinkcolor" val="tx"/>
                  </a:ext>
                </a:extLst>
              </a:hlinkClick>
            </a:rPr>
            <a:t>retiralshelpdesk.in@neocasemail.com</a:t>
          </a:r>
          <a:r>
            <a:rPr lang="en-IN" sz="1400" b="1" dirty="0">
              <a:solidFill>
                <a:schemeClr val="tx1"/>
              </a:solidFill>
              <a:latin typeface="Verdana" panose="020B0604030504040204" pitchFamily="34" charset="0"/>
              <a:ea typeface="Verdana" panose="020B0604030504040204" pitchFamily="34" charset="0"/>
            </a:rPr>
            <a:t> </a:t>
          </a:r>
          <a:r>
            <a:rPr lang="en-IN" sz="1400" b="0" dirty="0">
              <a:latin typeface="Verdana" panose="020B0604030504040204" pitchFamily="34" charset="0"/>
              <a:ea typeface="Verdana" panose="020B0604030504040204" pitchFamily="34" charset="0"/>
            </a:rPr>
            <a:t>for any queries related to Retirals.</a:t>
          </a:r>
          <a:endParaRPr lang="en-IN" sz="1400" dirty="0">
            <a:latin typeface="Verdana" panose="020B0604030504040204" pitchFamily="34" charset="0"/>
            <a:ea typeface="Verdana" panose="020B0604030504040204" pitchFamily="34" charset="0"/>
          </a:endParaRPr>
        </a:p>
      </dgm:t>
    </dgm:pt>
    <dgm:pt modelId="{134F7F12-5AFA-4763-BCBD-DBE27B9C5FBB}" type="par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58D24C03-919B-425C-B1CD-4B515210170B}" type="sib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87F92335-1A1E-4553-A280-523B7A65C46B}">
      <dgm:prSet custT="1"/>
      <dgm:spPr/>
      <dgm:t>
        <a:bodyPr/>
        <a:lstStyle/>
        <a:p>
          <a:pPr algn="l"/>
          <a:r>
            <a:rPr lang="en-IN" sz="1400" b="0" dirty="0">
              <a:latin typeface="Verdana" panose="020B0604030504040204" pitchFamily="34" charset="0"/>
              <a:ea typeface="Verdana" panose="020B0604030504040204" pitchFamily="34" charset="0"/>
            </a:rPr>
            <a:t>Its </a:t>
          </a:r>
          <a:r>
            <a:rPr lang="en-IN" sz="1400" b="1" dirty="0">
              <a:latin typeface="Verdana" panose="020B0604030504040204" pitchFamily="34" charset="0"/>
              <a:ea typeface="Verdana" panose="020B0604030504040204" pitchFamily="34" charset="0"/>
            </a:rPr>
            <a:t>mandatory to Transfer PF to new Organization.</a:t>
          </a:r>
          <a:r>
            <a:rPr lang="en-IN" sz="1400" b="0" dirty="0">
              <a:latin typeface="Verdana" panose="020B0604030504040204" pitchFamily="34" charset="0"/>
              <a:ea typeface="Verdana" panose="020B0604030504040204" pitchFamily="34" charset="0"/>
            </a:rPr>
            <a:t> Exceptional cases:</a:t>
          </a:r>
        </a:p>
      </dgm:t>
    </dgm:pt>
    <dgm:pt modelId="{AB9DE57F-688D-4871-A35D-015B5AB2243B}" type="parTrans" cxnId="{6BB35CA5-55E0-4AAB-9760-0A8B67FFF1F0}">
      <dgm:prSet/>
      <dgm:spPr/>
      <dgm:t>
        <a:bodyPr/>
        <a:lstStyle/>
        <a:p>
          <a:endParaRPr lang="en-IN" sz="1800">
            <a:latin typeface="Verdana" panose="020B0604030504040204" pitchFamily="34" charset="0"/>
            <a:ea typeface="Verdana" panose="020B0604030504040204" pitchFamily="34" charset="0"/>
          </a:endParaRPr>
        </a:p>
      </dgm:t>
    </dgm:pt>
    <dgm:pt modelId="{8488F2EE-AD76-46C4-81BA-D133B72F7329}" type="sibTrans" cxnId="{6BB35CA5-55E0-4AAB-9760-0A8B67FFF1F0}">
      <dgm:prSet/>
      <dgm:spPr/>
      <dgm:t>
        <a:bodyPr/>
        <a:lstStyle/>
        <a:p>
          <a:endParaRPr lang="en-IN" sz="1800">
            <a:latin typeface="Verdana" panose="020B0604030504040204" pitchFamily="34" charset="0"/>
            <a:ea typeface="Verdana" panose="020B0604030504040204" pitchFamily="34" charset="0"/>
          </a:endParaRPr>
        </a:p>
      </dgm:t>
    </dgm:pt>
    <dgm:pt modelId="{DE8B317F-1F07-4195-B6CB-64D600B88660}">
      <dgm:prSet custT="1"/>
      <dgm:spPr/>
      <dgm:t>
        <a:bodyPr/>
        <a:lstStyle/>
        <a:p>
          <a:pPr algn="just"/>
          <a:r>
            <a:rPr lang="en-IN" sz="1400" dirty="0">
              <a:solidFill>
                <a:schemeClr val="tx1"/>
              </a:solidFill>
              <a:latin typeface="Verdana" panose="020B0604030504040204" pitchFamily="34" charset="0"/>
              <a:ea typeface="Verdana" panose="020B0604030504040204" pitchFamily="34" charset="0"/>
              <a:hlinkClick xmlns:r="http://schemas.openxmlformats.org/officeDocument/2006/relationships" r:id="rId2">
                <a:extLst>
                  <a:ext uri="{A12FA001-AC4F-418D-AE19-62706E023703}">
                    <ahyp:hlinkClr xmlns:ahyp="http://schemas.microsoft.com/office/drawing/2018/hyperlinkcolor" val="tx"/>
                  </a:ext>
                </a:extLst>
              </a:hlinkClick>
            </a:rPr>
            <a:t>employeefeedback@epfindia.gov.in</a:t>
          </a:r>
          <a:endParaRPr lang="en-IN" sz="1400" dirty="0">
            <a:solidFill>
              <a:schemeClr val="tx1"/>
            </a:solidFill>
            <a:latin typeface="Verdana" panose="020B0604030504040204" pitchFamily="34" charset="0"/>
            <a:ea typeface="Verdana" panose="020B0604030504040204" pitchFamily="34" charset="0"/>
          </a:endParaRPr>
        </a:p>
      </dgm:t>
    </dgm:pt>
    <dgm:pt modelId="{B69014A5-D4C7-4481-911E-F103130A7D4B}" type="parTrans" cxnId="{05655241-D7C5-40B8-AD33-F1DF3F1213D4}">
      <dgm:prSet/>
      <dgm:spPr/>
      <dgm:t>
        <a:bodyPr/>
        <a:lstStyle/>
        <a:p>
          <a:endParaRPr lang="en-IN">
            <a:latin typeface="Verdana" panose="020B0604030504040204" pitchFamily="34" charset="0"/>
            <a:ea typeface="Verdana" panose="020B0604030504040204" pitchFamily="34" charset="0"/>
          </a:endParaRPr>
        </a:p>
      </dgm:t>
    </dgm:pt>
    <dgm:pt modelId="{275CF51E-D1D0-4302-AB35-AD5DFB48A997}" type="sibTrans" cxnId="{05655241-D7C5-40B8-AD33-F1DF3F1213D4}">
      <dgm:prSet/>
      <dgm:spPr/>
      <dgm:t>
        <a:bodyPr/>
        <a:lstStyle/>
        <a:p>
          <a:endParaRPr lang="en-IN">
            <a:latin typeface="Verdana" panose="020B0604030504040204" pitchFamily="34" charset="0"/>
            <a:ea typeface="Verdana" panose="020B0604030504040204" pitchFamily="34" charset="0"/>
          </a:endParaRPr>
        </a:p>
      </dgm:t>
    </dgm:pt>
    <dgm:pt modelId="{E4AD7F01-88B4-44E6-960C-067E29C0E761}">
      <dgm:prSet custT="1"/>
      <dgm:spPr/>
      <dgm:t>
        <a:bodyPr/>
        <a:lstStyle/>
        <a:p>
          <a:pPr algn="just"/>
          <a:r>
            <a:rPr lang="en-IN" sz="1400" dirty="0">
              <a:latin typeface="Verdana" panose="020B0604030504040204" pitchFamily="34" charset="0"/>
              <a:ea typeface="Verdana" panose="020B0604030504040204" pitchFamily="34" charset="0"/>
            </a:rPr>
            <a:t>Raise a Grievance on https://epfigms.gov.in/</a:t>
          </a:r>
        </a:p>
      </dgm:t>
    </dgm:pt>
    <dgm:pt modelId="{F7CDA6BC-7F51-4230-87B9-AFC94CF65A08}" type="parTrans" cxnId="{8EC3535F-757B-42E2-825D-A9975B8DA13D}">
      <dgm:prSet/>
      <dgm:spPr/>
      <dgm:t>
        <a:bodyPr/>
        <a:lstStyle/>
        <a:p>
          <a:endParaRPr lang="en-IN">
            <a:latin typeface="Verdana" panose="020B0604030504040204" pitchFamily="34" charset="0"/>
            <a:ea typeface="Verdana" panose="020B0604030504040204" pitchFamily="34" charset="0"/>
          </a:endParaRPr>
        </a:p>
      </dgm:t>
    </dgm:pt>
    <dgm:pt modelId="{19080BC6-50D0-43C2-AD71-980B62F2419E}" type="sibTrans" cxnId="{8EC3535F-757B-42E2-825D-A9975B8DA13D}">
      <dgm:prSet/>
      <dgm:spPr/>
      <dgm:t>
        <a:bodyPr/>
        <a:lstStyle/>
        <a:p>
          <a:endParaRPr lang="en-IN">
            <a:latin typeface="Verdana" panose="020B0604030504040204" pitchFamily="34" charset="0"/>
            <a:ea typeface="Verdana" panose="020B0604030504040204" pitchFamily="34" charset="0"/>
          </a:endParaRPr>
        </a:p>
      </dgm:t>
    </dgm:pt>
    <dgm:pt modelId="{AE0114F9-B07C-4EA7-B2EE-CA883C0BB2D6}">
      <dgm:prSet custT="1"/>
      <dgm:spPr/>
      <dgm:t>
        <a:bodyPr/>
        <a:lstStyle/>
        <a:p>
          <a:pPr algn="l"/>
          <a:r>
            <a:rPr lang="en-IN" sz="1200" b="0" dirty="0">
              <a:latin typeface="Verdana" panose="020B0604030504040204" pitchFamily="34" charset="0"/>
              <a:ea typeface="Verdana" panose="020B0604030504040204" pitchFamily="34" charset="0"/>
            </a:rPr>
            <a:t>Retirement,</a:t>
          </a:r>
        </a:p>
      </dgm:t>
    </dgm:pt>
    <dgm:pt modelId="{8F8184C0-DF66-415B-9408-3AC932049231}" type="parTrans" cxnId="{D7C2B35D-CE70-422D-AED5-B59BF648D943}">
      <dgm:prSet/>
      <dgm:spPr/>
      <dgm:t>
        <a:bodyPr/>
        <a:lstStyle/>
        <a:p>
          <a:endParaRPr lang="en-IN"/>
        </a:p>
      </dgm:t>
    </dgm:pt>
    <dgm:pt modelId="{788F4C8A-365F-4DF5-BC0D-58A930698CF1}" type="sibTrans" cxnId="{D7C2B35D-CE70-422D-AED5-B59BF648D943}">
      <dgm:prSet/>
      <dgm:spPr/>
      <dgm:t>
        <a:bodyPr/>
        <a:lstStyle/>
        <a:p>
          <a:endParaRPr lang="en-IN"/>
        </a:p>
      </dgm:t>
    </dgm:pt>
    <dgm:pt modelId="{ACDB6BD4-E3B5-4366-9F1E-B936C83BA441}">
      <dgm:prSet custT="1"/>
      <dgm:spPr/>
      <dgm:t>
        <a:bodyPr/>
        <a:lstStyle/>
        <a:p>
          <a:pPr algn="l"/>
          <a:r>
            <a:rPr lang="en-IN" sz="1200" b="0" dirty="0">
              <a:latin typeface="Verdana" panose="020B0604030504040204" pitchFamily="34" charset="0"/>
              <a:ea typeface="Verdana" panose="020B0604030504040204" pitchFamily="34" charset="0"/>
            </a:rPr>
            <a:t>Un-employed for more than 2 months.</a:t>
          </a:r>
        </a:p>
      </dgm:t>
    </dgm:pt>
    <dgm:pt modelId="{2E61E3A9-8E04-4A64-BA51-B1A500640AD3}" type="parTrans" cxnId="{23CAE862-3E01-4B91-97F2-52D05AFC8311}">
      <dgm:prSet/>
      <dgm:spPr/>
      <dgm:t>
        <a:bodyPr/>
        <a:lstStyle/>
        <a:p>
          <a:endParaRPr lang="en-IN"/>
        </a:p>
      </dgm:t>
    </dgm:pt>
    <dgm:pt modelId="{E2A2017F-347D-47A0-995F-3826129CF8CB}" type="sibTrans" cxnId="{23CAE862-3E01-4B91-97F2-52D05AFC8311}">
      <dgm:prSet/>
      <dgm:spPr/>
      <dgm:t>
        <a:bodyPr/>
        <a:lstStyle/>
        <a:p>
          <a:endParaRPr lang="en-IN"/>
        </a:p>
      </dgm:t>
    </dgm:pt>
    <dgm:pt modelId="{1C30DF96-A417-4CDD-A7F5-BCBD3EBC5F4E}">
      <dgm:prSet custT="1"/>
      <dgm:spPr/>
      <dgm:t>
        <a:bodyPr/>
        <a:lstStyle/>
        <a:p>
          <a:pPr algn="l"/>
          <a:r>
            <a:rPr lang="en-IN" sz="1200" b="0" dirty="0">
              <a:latin typeface="Verdana" panose="020B0604030504040204" pitchFamily="34" charset="0"/>
              <a:ea typeface="Verdana" panose="020B0604030504040204" pitchFamily="34" charset="0"/>
            </a:rPr>
            <a:t>Permanent Disability of an Employee</a:t>
          </a:r>
        </a:p>
      </dgm:t>
    </dgm:pt>
    <dgm:pt modelId="{F466B688-3CF0-4E23-80AD-B9DA1C79F5BF}" type="parTrans" cxnId="{0EDC96BC-5B6E-451A-BD1F-2E9779862CBE}">
      <dgm:prSet/>
      <dgm:spPr/>
      <dgm:t>
        <a:bodyPr/>
        <a:lstStyle/>
        <a:p>
          <a:endParaRPr lang="en-IN"/>
        </a:p>
      </dgm:t>
    </dgm:pt>
    <dgm:pt modelId="{C886B40A-B2ED-4F0E-A344-DE6BD697B804}" type="sibTrans" cxnId="{0EDC96BC-5B6E-451A-BD1F-2E9779862CBE}">
      <dgm:prSet/>
      <dgm:spPr/>
      <dgm:t>
        <a:bodyPr/>
        <a:lstStyle/>
        <a:p>
          <a:endParaRPr lang="en-IN"/>
        </a:p>
      </dgm:t>
    </dgm:pt>
    <dgm:pt modelId="{13D93561-C416-4711-B0ED-7AE9D39C63A6}" type="pres">
      <dgm:prSet presAssocID="{0BC1331C-2E75-4ECD-A678-9A30C9D909E2}" presName="diagram" presStyleCnt="0">
        <dgm:presLayoutVars>
          <dgm:dir/>
          <dgm:animLvl val="lvl"/>
          <dgm:resizeHandles val="exact"/>
        </dgm:presLayoutVars>
      </dgm:prSet>
      <dgm:spPr/>
    </dgm:pt>
    <dgm:pt modelId="{8372EF95-3681-4B0B-BD6B-FF2CEE206022}" type="pres">
      <dgm:prSet presAssocID="{46EDBB8C-A27B-47FB-90FF-ADE593F7DAB5}" presName="compNode" presStyleCnt="0"/>
      <dgm:spPr/>
    </dgm:pt>
    <dgm:pt modelId="{253308A7-15BF-4D5C-AE13-BE486683323E}" type="pres">
      <dgm:prSet presAssocID="{46EDBB8C-A27B-47FB-90FF-ADE593F7DAB5}" presName="childRect" presStyleLbl="bgAcc1" presStyleIdx="0" presStyleCnt="6">
        <dgm:presLayoutVars>
          <dgm:bulletEnabled val="1"/>
        </dgm:presLayoutVars>
      </dgm:prSet>
      <dgm:spPr/>
    </dgm:pt>
    <dgm:pt modelId="{38EF504A-198C-483D-A6FB-7F0047CABE75}" type="pres">
      <dgm:prSet presAssocID="{46EDBB8C-A27B-47FB-90FF-ADE593F7DAB5}" presName="parentText" presStyleLbl="node1" presStyleIdx="0" presStyleCnt="0">
        <dgm:presLayoutVars>
          <dgm:chMax val="0"/>
          <dgm:bulletEnabled val="1"/>
        </dgm:presLayoutVars>
      </dgm:prSet>
      <dgm:spPr/>
    </dgm:pt>
    <dgm:pt modelId="{76EAAF2D-0E09-420C-B02A-1EEAC31D24D2}" type="pres">
      <dgm:prSet presAssocID="{46EDBB8C-A27B-47FB-90FF-ADE593F7DAB5}" presName="parentRect" presStyleLbl="alignNode1" presStyleIdx="0" presStyleCnt="6"/>
      <dgm:spPr/>
    </dgm:pt>
    <dgm:pt modelId="{0E14FB86-E707-4C3F-816D-CACC3BC1831F}" type="pres">
      <dgm:prSet presAssocID="{46EDBB8C-A27B-47FB-90FF-ADE593F7DAB5}" presName="adorn" presStyleLbl="fgAccFollowNode1" presStyleIdx="0"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adge 1 with solid fill"/>
        </a:ext>
      </dgm:extLst>
    </dgm:pt>
    <dgm:pt modelId="{A742185D-6E01-49AF-9F7D-6AA94F1B18B2}" type="pres">
      <dgm:prSet presAssocID="{B2155D58-6E30-4E98-A5AB-FFE24B859D08}" presName="sibTrans" presStyleLbl="sibTrans2D1" presStyleIdx="0" presStyleCnt="0"/>
      <dgm:spPr/>
    </dgm:pt>
    <dgm:pt modelId="{05AB36A4-8CCE-4617-82B7-4DBE85158236}" type="pres">
      <dgm:prSet presAssocID="{B1E688A3-1D91-46E2-98DA-090CD80E0B05}" presName="compNode" presStyleCnt="0"/>
      <dgm:spPr/>
    </dgm:pt>
    <dgm:pt modelId="{1E6A4418-E737-4015-B45D-CA4F9CC787CE}" type="pres">
      <dgm:prSet presAssocID="{B1E688A3-1D91-46E2-98DA-090CD80E0B05}" presName="childRect" presStyleLbl="bgAcc1" presStyleIdx="1" presStyleCnt="6">
        <dgm:presLayoutVars>
          <dgm:bulletEnabled val="1"/>
        </dgm:presLayoutVars>
      </dgm:prSet>
      <dgm:spPr/>
    </dgm:pt>
    <dgm:pt modelId="{0E53D2EC-C8D0-4E98-9778-BCE5ABD8E21F}" type="pres">
      <dgm:prSet presAssocID="{B1E688A3-1D91-46E2-98DA-090CD80E0B05}" presName="parentText" presStyleLbl="node1" presStyleIdx="0" presStyleCnt="0">
        <dgm:presLayoutVars>
          <dgm:chMax val="0"/>
          <dgm:bulletEnabled val="1"/>
        </dgm:presLayoutVars>
      </dgm:prSet>
      <dgm:spPr/>
    </dgm:pt>
    <dgm:pt modelId="{9BFF9B5D-8D98-40C4-98D0-6D3BA9A85B92}" type="pres">
      <dgm:prSet presAssocID="{B1E688A3-1D91-46E2-98DA-090CD80E0B05}" presName="parentRect" presStyleLbl="alignNode1" presStyleIdx="1" presStyleCnt="6"/>
      <dgm:spPr/>
    </dgm:pt>
    <dgm:pt modelId="{73275AFD-0A15-4318-9A06-BCF1446E5C6E}" type="pres">
      <dgm:prSet presAssocID="{B1E688A3-1D91-46E2-98DA-090CD80E0B05}" presName="adorn" presStyleLbl="fgAccFollowNode1" presStyleIdx="1"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Badge with solid fill"/>
        </a:ext>
      </dgm:extLst>
    </dgm:pt>
    <dgm:pt modelId="{9CBB52C1-F80C-4244-88FA-AF2234741ECE}" type="pres">
      <dgm:prSet presAssocID="{631F5C17-A4E4-452B-A3AE-DA06C6CFF430}" presName="sibTrans" presStyleLbl="sibTrans2D1" presStyleIdx="0" presStyleCnt="0"/>
      <dgm:spPr/>
    </dgm:pt>
    <dgm:pt modelId="{71FE93AE-4CDA-408B-B9D8-384A669E2A84}" type="pres">
      <dgm:prSet presAssocID="{27408B03-5CDB-431A-A488-CD06E205F6A0}" presName="compNode" presStyleCnt="0"/>
      <dgm:spPr/>
    </dgm:pt>
    <dgm:pt modelId="{4A512D6E-4270-429B-9395-1B5368493A45}" type="pres">
      <dgm:prSet presAssocID="{27408B03-5CDB-431A-A488-CD06E205F6A0}" presName="childRect" presStyleLbl="bgAcc1" presStyleIdx="2" presStyleCnt="6">
        <dgm:presLayoutVars>
          <dgm:bulletEnabled val="1"/>
        </dgm:presLayoutVars>
      </dgm:prSet>
      <dgm:spPr/>
    </dgm:pt>
    <dgm:pt modelId="{ACB0BED8-2076-4144-9980-2064E4912645}" type="pres">
      <dgm:prSet presAssocID="{27408B03-5CDB-431A-A488-CD06E205F6A0}" presName="parentText" presStyleLbl="node1" presStyleIdx="0" presStyleCnt="0">
        <dgm:presLayoutVars>
          <dgm:chMax val="0"/>
          <dgm:bulletEnabled val="1"/>
        </dgm:presLayoutVars>
      </dgm:prSet>
      <dgm:spPr/>
    </dgm:pt>
    <dgm:pt modelId="{A6051F57-1E9D-43AB-9317-4E946A356B54}" type="pres">
      <dgm:prSet presAssocID="{27408B03-5CDB-431A-A488-CD06E205F6A0}" presName="parentRect" presStyleLbl="alignNode1" presStyleIdx="2" presStyleCnt="6"/>
      <dgm:spPr/>
    </dgm:pt>
    <dgm:pt modelId="{BE219F52-4BE3-4008-ABC8-6D0C1D246A30}" type="pres">
      <dgm:prSet presAssocID="{27408B03-5CDB-431A-A488-CD06E205F6A0}" presName="adorn" presStyleLbl="fgAccFollowNode1" presStyleIdx="2"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Badge 3 with solid fill"/>
        </a:ext>
      </dgm:extLst>
    </dgm:pt>
    <dgm:pt modelId="{8558DD11-2F7B-4E20-9DB7-3312625FD4AA}" type="pres">
      <dgm:prSet presAssocID="{5FC2860F-A9EA-4CD5-8A0E-5ADA41E2322B}" presName="sibTrans" presStyleLbl="sibTrans2D1" presStyleIdx="0" presStyleCnt="0"/>
      <dgm:spPr/>
    </dgm:pt>
    <dgm:pt modelId="{7EA37662-AF89-476F-9249-A00E75761E74}" type="pres">
      <dgm:prSet presAssocID="{5E3C5D30-1164-4AC0-8450-45FD4DFA6036}" presName="compNode" presStyleCnt="0"/>
      <dgm:spPr/>
    </dgm:pt>
    <dgm:pt modelId="{AD000950-DC72-4F1A-87CA-5BB964166A3E}" type="pres">
      <dgm:prSet presAssocID="{5E3C5D30-1164-4AC0-8450-45FD4DFA6036}" presName="childRect" presStyleLbl="bgAcc1" presStyleIdx="3" presStyleCnt="6" custScaleX="102250" custScaleY="102892">
        <dgm:presLayoutVars>
          <dgm:bulletEnabled val="1"/>
        </dgm:presLayoutVars>
      </dgm:prSet>
      <dgm:spPr/>
    </dgm:pt>
    <dgm:pt modelId="{6EB56C3C-F079-48BC-A1E1-E08DB221DF3C}" type="pres">
      <dgm:prSet presAssocID="{5E3C5D30-1164-4AC0-8450-45FD4DFA6036}" presName="parentText" presStyleLbl="node1" presStyleIdx="0" presStyleCnt="0">
        <dgm:presLayoutVars>
          <dgm:chMax val="0"/>
          <dgm:bulletEnabled val="1"/>
        </dgm:presLayoutVars>
      </dgm:prSet>
      <dgm:spPr/>
    </dgm:pt>
    <dgm:pt modelId="{25479661-88D4-4F3C-AC4B-89408DE8A203}" type="pres">
      <dgm:prSet presAssocID="{5E3C5D30-1164-4AC0-8450-45FD4DFA6036}" presName="parentRect" presStyleLbl="alignNode1" presStyleIdx="3" presStyleCnt="6"/>
      <dgm:spPr/>
    </dgm:pt>
    <dgm:pt modelId="{B15F6E00-4F30-4E06-B10D-D7FFCAA7B142}" type="pres">
      <dgm:prSet presAssocID="{5E3C5D30-1164-4AC0-8450-45FD4DFA6036}" presName="adorn" presStyleLbl="fgAccFollowNode1" presStyleIdx="3"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Badge 4 with solid fill"/>
        </a:ext>
      </dgm:extLst>
    </dgm:pt>
    <dgm:pt modelId="{7C749A18-7B90-4082-96D0-C5DDDEB793C2}" type="pres">
      <dgm:prSet presAssocID="{D504C69E-8755-446A-81F2-DD218FEED201}" presName="sibTrans" presStyleLbl="sibTrans2D1" presStyleIdx="0" presStyleCnt="0"/>
      <dgm:spPr/>
    </dgm:pt>
    <dgm:pt modelId="{D3C8D7AF-F1E3-4DA5-BBF7-549B8B26B8E0}" type="pres">
      <dgm:prSet presAssocID="{FFDA63B7-22E9-4E86-A470-5473E9E0EDE5}" presName="compNode" presStyleCnt="0"/>
      <dgm:spPr/>
    </dgm:pt>
    <dgm:pt modelId="{54A8A90F-0435-4F39-9923-2A38871C36BF}" type="pres">
      <dgm:prSet presAssocID="{FFDA63B7-22E9-4E86-A470-5473E9E0EDE5}" presName="childRect" presStyleLbl="bgAcc1" presStyleIdx="4" presStyleCnt="6" custScaleY="116200">
        <dgm:presLayoutVars>
          <dgm:bulletEnabled val="1"/>
        </dgm:presLayoutVars>
      </dgm:prSet>
      <dgm:spPr/>
    </dgm:pt>
    <dgm:pt modelId="{8344EBE2-279A-4601-B785-4C661DD4CC72}" type="pres">
      <dgm:prSet presAssocID="{FFDA63B7-22E9-4E86-A470-5473E9E0EDE5}" presName="parentText" presStyleLbl="node1" presStyleIdx="0" presStyleCnt="0">
        <dgm:presLayoutVars>
          <dgm:chMax val="0"/>
          <dgm:bulletEnabled val="1"/>
        </dgm:presLayoutVars>
      </dgm:prSet>
      <dgm:spPr/>
    </dgm:pt>
    <dgm:pt modelId="{7F3FC3A3-4744-4D86-9E94-84D86B4B436D}" type="pres">
      <dgm:prSet presAssocID="{FFDA63B7-22E9-4E86-A470-5473E9E0EDE5}" presName="parentRect" presStyleLbl="alignNode1" presStyleIdx="4" presStyleCnt="6" custLinFactNeighborY="24176"/>
      <dgm:spPr/>
    </dgm:pt>
    <dgm:pt modelId="{E597C7E3-1725-4D64-873A-658B948DFB79}" type="pres">
      <dgm:prSet presAssocID="{FFDA63B7-22E9-4E86-A470-5473E9E0EDE5}" presName="adorn" presStyleLbl="fgAccFollowNode1" presStyleIdx="4"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Badge 5 with solid fill"/>
        </a:ext>
      </dgm:extLst>
    </dgm:pt>
    <dgm:pt modelId="{261230A3-0724-4F42-9FE3-5BB843F21013}" type="pres">
      <dgm:prSet presAssocID="{137D3ADA-90A7-4B39-AB0C-FDA626D81F22}" presName="sibTrans" presStyleLbl="sibTrans2D1" presStyleIdx="0" presStyleCnt="0"/>
      <dgm:spPr/>
    </dgm:pt>
    <dgm:pt modelId="{26660FF5-6AEA-43FE-8A66-DF354BC3FE9E}" type="pres">
      <dgm:prSet presAssocID="{6311FD7F-F0D6-4944-8593-99C24D8824AB}" presName="compNode" presStyleCnt="0"/>
      <dgm:spPr/>
    </dgm:pt>
    <dgm:pt modelId="{1BEA4FF2-BE70-4384-A64E-332A8840E9CC}" type="pres">
      <dgm:prSet presAssocID="{6311FD7F-F0D6-4944-8593-99C24D8824AB}" presName="childRect" presStyleLbl="bgAcc1" presStyleIdx="5" presStyleCnt="6" custScaleY="120845">
        <dgm:presLayoutVars>
          <dgm:bulletEnabled val="1"/>
        </dgm:presLayoutVars>
      </dgm:prSet>
      <dgm:spPr/>
    </dgm:pt>
    <dgm:pt modelId="{FAF0AFA7-D1D8-4E07-813B-8D8A16B441E3}" type="pres">
      <dgm:prSet presAssocID="{6311FD7F-F0D6-4944-8593-99C24D8824AB}" presName="parentText" presStyleLbl="node1" presStyleIdx="0" presStyleCnt="0">
        <dgm:presLayoutVars>
          <dgm:chMax val="0"/>
          <dgm:bulletEnabled val="1"/>
        </dgm:presLayoutVars>
      </dgm:prSet>
      <dgm:spPr/>
    </dgm:pt>
    <dgm:pt modelId="{1476D0B0-D32C-4E30-B83E-603F9D26A956}" type="pres">
      <dgm:prSet presAssocID="{6311FD7F-F0D6-4944-8593-99C24D8824AB}" presName="parentRect" presStyleLbl="alignNode1" presStyleIdx="5" presStyleCnt="6" custLinFactNeighborY="19942"/>
      <dgm:spPr/>
    </dgm:pt>
    <dgm:pt modelId="{44187FF7-02D2-484B-8DEF-B315CD61EA54}" type="pres">
      <dgm:prSet presAssocID="{6311FD7F-F0D6-4944-8593-99C24D8824AB}" presName="adorn" presStyleLbl="fgAccFollowNode1" presStyleIdx="5" presStyleCnt="6"/>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Badge 6 with solid fill"/>
        </a:ext>
      </dgm:extLst>
    </dgm:pt>
  </dgm:ptLst>
  <dgm:cxnLst>
    <dgm:cxn modelId="{5D787100-1AF6-46E6-BD6B-3123C351186D}" srcId="{0BC1331C-2E75-4ECD-A678-9A30C9D909E2}" destId="{27408B03-5CDB-431A-A488-CD06E205F6A0}" srcOrd="2" destOrd="0" parTransId="{4ADCBAE8-6A3D-48B8-857F-0BD5C03A778F}" sibTransId="{5FC2860F-A9EA-4CD5-8A0E-5ADA41E2322B}"/>
    <dgm:cxn modelId="{3BBB5E0B-6929-44DD-B1AB-61FD5F0A4627}" type="presOf" srcId="{D504C69E-8755-446A-81F2-DD218FEED201}" destId="{7C749A18-7B90-4082-96D0-C5DDDEB793C2}" srcOrd="0" destOrd="0" presId="urn:microsoft.com/office/officeart/2005/8/layout/bList2"/>
    <dgm:cxn modelId="{68F4750C-B870-412F-A02F-D3E6CA97A6B0}" type="presOf" srcId="{137D3ADA-90A7-4B39-AB0C-FDA626D81F22}" destId="{261230A3-0724-4F42-9FE3-5BB843F21013}" srcOrd="0" destOrd="0" presId="urn:microsoft.com/office/officeart/2005/8/layout/bList2"/>
    <dgm:cxn modelId="{4C7E680E-2892-4ECF-B256-D4C88BED538D}" type="presOf" srcId="{6311FD7F-F0D6-4944-8593-99C24D8824AB}" destId="{FAF0AFA7-D1D8-4E07-813B-8D8A16B441E3}" srcOrd="0" destOrd="0" presId="urn:microsoft.com/office/officeart/2005/8/layout/bList2"/>
    <dgm:cxn modelId="{65D96319-8799-4C20-AB79-988561A5C739}" type="presOf" srcId="{FFDA63B7-22E9-4E86-A470-5473E9E0EDE5}" destId="{8344EBE2-279A-4601-B785-4C661DD4CC72}" srcOrd="0" destOrd="0" presId="urn:microsoft.com/office/officeart/2005/8/layout/bList2"/>
    <dgm:cxn modelId="{0D81531E-EAE6-450D-B561-E33235B07DCF}" type="presOf" srcId="{B2155D58-6E30-4E98-A5AB-FFE24B859D08}" destId="{A742185D-6E01-49AF-9F7D-6AA94F1B18B2}" srcOrd="0" destOrd="0" presId="urn:microsoft.com/office/officeart/2005/8/layout/bList2"/>
    <dgm:cxn modelId="{AB17B723-8D31-48D7-961E-36DCE3AEE215}" srcId="{0BC1331C-2E75-4ECD-A678-9A30C9D909E2}" destId="{FFDA63B7-22E9-4E86-A470-5473E9E0EDE5}" srcOrd="4" destOrd="0" parTransId="{6432DE3D-CA65-4D38-A834-3E6F6515CC4D}" sibTransId="{137D3ADA-90A7-4B39-AB0C-FDA626D81F22}"/>
    <dgm:cxn modelId="{BD1BA027-577F-48FD-ABF1-67DDBDA7FE9B}" type="presOf" srcId="{BC55DB1B-A7FE-408D-A005-E16FCACB9A82}" destId="{1E6A4418-E737-4015-B45D-CA4F9CC787CE}" srcOrd="0" destOrd="0" presId="urn:microsoft.com/office/officeart/2005/8/layout/bList2"/>
    <dgm:cxn modelId="{163D1F29-DC5C-4E14-80DB-BE42B3D6B703}" type="presOf" srcId="{AE0114F9-B07C-4EA7-B2EE-CA883C0BB2D6}" destId="{54A8A90F-0435-4F39-9923-2A38871C36BF}" srcOrd="0" destOrd="1" presId="urn:microsoft.com/office/officeart/2005/8/layout/bList2"/>
    <dgm:cxn modelId="{B176EC3D-2965-44BF-96A3-B4DB4F5A8A75}" type="presOf" srcId="{5E3C5D30-1164-4AC0-8450-45FD4DFA6036}" destId="{6EB56C3C-F079-48BC-A1E1-E08DB221DF3C}" srcOrd="0" destOrd="0" presId="urn:microsoft.com/office/officeart/2005/8/layout/bList2"/>
    <dgm:cxn modelId="{D7D0723E-266E-46FE-AD23-00B61369A1C6}" type="presOf" srcId="{27408B03-5CDB-431A-A488-CD06E205F6A0}" destId="{ACB0BED8-2076-4144-9980-2064E4912645}" srcOrd="0" destOrd="0" presId="urn:microsoft.com/office/officeart/2005/8/layout/bList2"/>
    <dgm:cxn modelId="{D7C2B35D-CE70-422D-AED5-B59BF648D943}" srcId="{FFDA63B7-22E9-4E86-A470-5473E9E0EDE5}" destId="{AE0114F9-B07C-4EA7-B2EE-CA883C0BB2D6}" srcOrd="1" destOrd="0" parTransId="{8F8184C0-DF66-415B-9408-3AC932049231}" sibTransId="{788F4C8A-365F-4DF5-BC0D-58A930698CF1}"/>
    <dgm:cxn modelId="{8EC3535F-757B-42E2-825D-A9975B8DA13D}" srcId="{6311FD7F-F0D6-4944-8593-99C24D8824AB}" destId="{E4AD7F01-88B4-44E6-960C-067E29C0E761}" srcOrd="2" destOrd="0" parTransId="{F7CDA6BC-7F51-4230-87B9-AFC94CF65A08}" sibTransId="{19080BC6-50D0-43C2-AD71-980B62F2419E}"/>
    <dgm:cxn modelId="{05655241-D7C5-40B8-AD33-F1DF3F1213D4}" srcId="{6311FD7F-F0D6-4944-8593-99C24D8824AB}" destId="{DE8B317F-1F07-4195-B6CB-64D600B88660}" srcOrd="1" destOrd="0" parTransId="{B69014A5-D4C7-4481-911E-F103130A7D4B}" sibTransId="{275CF51E-D1D0-4302-AB35-AD5DFB48A997}"/>
    <dgm:cxn modelId="{23CAE862-3E01-4B91-97F2-52D05AFC8311}" srcId="{FFDA63B7-22E9-4E86-A470-5473E9E0EDE5}" destId="{ACDB6BD4-E3B5-4366-9F1E-B936C83BA441}" srcOrd="3" destOrd="0" parTransId="{2E61E3A9-8E04-4A64-BA51-B1A500640AD3}" sibTransId="{E2A2017F-347D-47A0-995F-3826129CF8CB}"/>
    <dgm:cxn modelId="{F0E11B66-E001-4516-A8A3-67363D64C52E}" type="presOf" srcId="{0BC1331C-2E75-4ECD-A678-9A30C9D909E2}" destId="{13D93561-C416-4711-B0ED-7AE9D39C63A6}" srcOrd="0" destOrd="0" presId="urn:microsoft.com/office/officeart/2005/8/layout/bList2"/>
    <dgm:cxn modelId="{118B7D46-7516-4C4D-B74D-C9DF0C4FA7B7}" srcId="{B1E688A3-1D91-46E2-98DA-090CD80E0B05}" destId="{BC55DB1B-A7FE-408D-A005-E16FCACB9A82}" srcOrd="0" destOrd="0" parTransId="{2D5EFEF6-09E5-4189-966A-47917FFC3B31}" sibTransId="{5AC29784-F4BC-424E-A911-09E7F85BC35E}"/>
    <dgm:cxn modelId="{5E15D047-3472-4AB9-B22C-8133F2E0CC3E}" type="presOf" srcId="{5FC2860F-A9EA-4CD5-8A0E-5ADA41E2322B}" destId="{8558DD11-2F7B-4E20-9DB7-3312625FD4AA}" srcOrd="0" destOrd="0" presId="urn:microsoft.com/office/officeart/2005/8/layout/bList2"/>
    <dgm:cxn modelId="{AEB19B6B-8553-4A6A-972E-A6BD5E005CF9}" type="presOf" srcId="{FFDA63B7-22E9-4E86-A470-5473E9E0EDE5}" destId="{7F3FC3A3-4744-4D86-9E94-84D86B4B436D}" srcOrd="1" destOrd="0" presId="urn:microsoft.com/office/officeart/2005/8/layout/bList2"/>
    <dgm:cxn modelId="{85B3B550-D33C-488B-9203-7942AD98F7DC}" srcId="{6311FD7F-F0D6-4944-8593-99C24D8824AB}" destId="{B61E5DC9-6AF7-4AD2-B7DC-9BE32C8E3980}" srcOrd="0" destOrd="0" parTransId="{CD9272C0-17CA-46A1-AA26-D13F8E527406}" sibTransId="{19A5FCF9-C3CB-4BB1-9AB8-22E2DA70ED3C}"/>
    <dgm:cxn modelId="{2041E776-C8C5-4862-97A1-7EBEF0B6227E}" type="presOf" srcId="{87F92335-1A1E-4553-A280-523B7A65C46B}" destId="{54A8A90F-0435-4F39-9923-2A38871C36BF}" srcOrd="0" destOrd="0" presId="urn:microsoft.com/office/officeart/2005/8/layout/bList2"/>
    <dgm:cxn modelId="{9070BC77-5075-47CD-8C81-D4EB2A9FADE4}" type="presOf" srcId="{13D05D3A-2F1C-4192-9BFB-A88519BE6983}" destId="{4A512D6E-4270-429B-9395-1B5368493A45}" srcOrd="0" destOrd="0" presId="urn:microsoft.com/office/officeart/2005/8/layout/bList2"/>
    <dgm:cxn modelId="{5CC52B5A-E128-4D17-B457-DC4A6029D50D}" srcId="{5E3C5D30-1164-4AC0-8450-45FD4DFA6036}" destId="{CE8C308E-0D8B-4951-B8B3-D3B4EBB1CC16}" srcOrd="0" destOrd="0" parTransId="{474DD048-8E3F-4506-A050-56BF4C2CA2F8}" sibTransId="{FDB620C5-1F25-4E9D-8ECF-DD1524BC23EE}"/>
    <dgm:cxn modelId="{9482567B-9426-4D25-9EF3-42CBD9DC4D85}" srcId="{27408B03-5CDB-431A-A488-CD06E205F6A0}" destId="{13D05D3A-2F1C-4192-9BFB-A88519BE6983}" srcOrd="0" destOrd="0" parTransId="{134F7F12-5AFA-4763-BCBD-DBE27B9C5FBB}" sibTransId="{58D24C03-919B-425C-B1CD-4B515210170B}"/>
    <dgm:cxn modelId="{1537B37C-6CB1-4D21-9205-D9DB13707C60}" type="presOf" srcId="{27408B03-5CDB-431A-A488-CD06E205F6A0}" destId="{A6051F57-1E9D-43AB-9317-4E946A356B54}" srcOrd="1" destOrd="0" presId="urn:microsoft.com/office/officeart/2005/8/layout/bList2"/>
    <dgm:cxn modelId="{18A90C8A-EDE9-4E26-8701-7B0511F533F7}" srcId="{0BC1331C-2E75-4ECD-A678-9A30C9D909E2}" destId="{46EDBB8C-A27B-47FB-90FF-ADE593F7DAB5}" srcOrd="0" destOrd="0" parTransId="{BBE6F662-B7F6-4040-991A-49745BEB0D95}" sibTransId="{B2155D58-6E30-4E98-A5AB-FFE24B859D08}"/>
    <dgm:cxn modelId="{7C86D397-B76E-48C2-BA8D-AB6D4307FA3C}" type="presOf" srcId="{631F5C17-A4E4-452B-A3AE-DA06C6CFF430}" destId="{9CBB52C1-F80C-4244-88FA-AF2234741ECE}" srcOrd="0" destOrd="0" presId="urn:microsoft.com/office/officeart/2005/8/layout/bList2"/>
    <dgm:cxn modelId="{7D0B57A4-3D37-4093-87D6-A7602CA14420}" srcId="{0BC1331C-2E75-4ECD-A678-9A30C9D909E2}" destId="{5E3C5D30-1164-4AC0-8450-45FD4DFA6036}" srcOrd="3" destOrd="0" parTransId="{67FE326E-ECFA-4CFB-B81F-42CC029AEC68}" sibTransId="{D504C69E-8755-446A-81F2-DD218FEED201}"/>
    <dgm:cxn modelId="{6BB35CA5-55E0-4AAB-9760-0A8B67FFF1F0}" srcId="{FFDA63B7-22E9-4E86-A470-5473E9E0EDE5}" destId="{87F92335-1A1E-4553-A280-523B7A65C46B}" srcOrd="0" destOrd="0" parTransId="{AB9DE57F-688D-4871-A35D-015B5AB2243B}" sibTransId="{8488F2EE-AD76-46C4-81BA-D133B72F7329}"/>
    <dgm:cxn modelId="{CBE343AC-4026-451E-B532-F7F405703662}" type="presOf" srcId="{E4AD7F01-88B4-44E6-960C-067E29C0E761}" destId="{1BEA4FF2-BE70-4384-A64E-332A8840E9CC}" srcOrd="0" destOrd="2" presId="urn:microsoft.com/office/officeart/2005/8/layout/bList2"/>
    <dgm:cxn modelId="{A2C4D8B8-9C4F-499E-BEA2-F252F94950F1}" type="presOf" srcId="{46EDBB8C-A27B-47FB-90FF-ADE593F7DAB5}" destId="{76EAAF2D-0E09-420C-B02A-1EEAC31D24D2}" srcOrd="1" destOrd="0" presId="urn:microsoft.com/office/officeart/2005/8/layout/bList2"/>
    <dgm:cxn modelId="{E2072DBC-E4DB-4CEC-9DDD-CEA20B61431E}" type="presOf" srcId="{DE8B317F-1F07-4195-B6CB-64D600B88660}" destId="{1BEA4FF2-BE70-4384-A64E-332A8840E9CC}" srcOrd="0" destOrd="1" presId="urn:microsoft.com/office/officeart/2005/8/layout/bList2"/>
    <dgm:cxn modelId="{0EDC96BC-5B6E-451A-BD1F-2E9779862CBE}" srcId="{FFDA63B7-22E9-4E86-A470-5473E9E0EDE5}" destId="{1C30DF96-A417-4CDD-A7F5-BCBD3EBC5F4E}" srcOrd="2" destOrd="0" parTransId="{F466B688-3CF0-4E23-80AD-B9DA1C79F5BF}" sibTransId="{C886B40A-B2ED-4F0E-A344-DE6BD697B804}"/>
    <dgm:cxn modelId="{666CE0BF-C68F-40D6-8C99-CA177432D162}" srcId="{0BC1331C-2E75-4ECD-A678-9A30C9D909E2}" destId="{6311FD7F-F0D6-4944-8593-99C24D8824AB}" srcOrd="5" destOrd="0" parTransId="{A78CD1AF-C5FE-4B53-A25B-92E2D1306150}" sibTransId="{2F6488FB-0789-4785-84FE-291235928ED5}"/>
    <dgm:cxn modelId="{269D9EC2-FC16-4EE6-A4B3-03EB91B6F64E}" type="presOf" srcId="{46EDBB8C-A27B-47FB-90FF-ADE593F7DAB5}" destId="{38EF504A-198C-483D-A6FB-7F0047CABE75}" srcOrd="0" destOrd="0" presId="urn:microsoft.com/office/officeart/2005/8/layout/bList2"/>
    <dgm:cxn modelId="{900475CC-DF5B-4529-949B-340E5D4E6838}" type="presOf" srcId="{6311FD7F-F0D6-4944-8593-99C24D8824AB}" destId="{1476D0B0-D32C-4E30-B83E-603F9D26A956}" srcOrd="1" destOrd="0" presId="urn:microsoft.com/office/officeart/2005/8/layout/bList2"/>
    <dgm:cxn modelId="{D0DABDCE-14F6-4BFA-9F73-71ACF226B2A3}" type="presOf" srcId="{B1E688A3-1D91-46E2-98DA-090CD80E0B05}" destId="{9BFF9B5D-8D98-40C4-98D0-6D3BA9A85B92}" srcOrd="1" destOrd="0" presId="urn:microsoft.com/office/officeart/2005/8/layout/bList2"/>
    <dgm:cxn modelId="{948EEACE-FF2D-4D18-9810-910B55D70A81}" type="presOf" srcId="{9B78ADB5-DDFD-4B1E-9A95-944FC525AA3D}" destId="{253308A7-15BF-4D5C-AE13-BE486683323E}" srcOrd="0" destOrd="0" presId="urn:microsoft.com/office/officeart/2005/8/layout/bList2"/>
    <dgm:cxn modelId="{37C500D1-04B0-4EA2-8BC6-748FD1673186}" type="presOf" srcId="{B61E5DC9-6AF7-4AD2-B7DC-9BE32C8E3980}" destId="{1BEA4FF2-BE70-4384-A64E-332A8840E9CC}" srcOrd="0" destOrd="0" presId="urn:microsoft.com/office/officeart/2005/8/layout/bList2"/>
    <dgm:cxn modelId="{F04F0DD1-E64F-4A77-96CB-2B4793CC748E}" type="presOf" srcId="{5E3C5D30-1164-4AC0-8450-45FD4DFA6036}" destId="{25479661-88D4-4F3C-AC4B-89408DE8A203}" srcOrd="1" destOrd="0" presId="urn:microsoft.com/office/officeart/2005/8/layout/bList2"/>
    <dgm:cxn modelId="{EFAA91D3-7546-4E1F-841C-B1EA9486E903}" srcId="{46EDBB8C-A27B-47FB-90FF-ADE593F7DAB5}" destId="{9B78ADB5-DDFD-4B1E-9A95-944FC525AA3D}" srcOrd="0" destOrd="0" parTransId="{B0E73393-0328-4A94-AFCB-5BE17549BFF6}" sibTransId="{5D80EAA9-B20E-454C-9171-ECEE4645CA6E}"/>
    <dgm:cxn modelId="{EF8CB8DB-AD56-4C5F-8CF4-2FDA1587D203}" type="presOf" srcId="{ACDB6BD4-E3B5-4366-9F1E-B936C83BA441}" destId="{54A8A90F-0435-4F39-9923-2A38871C36BF}" srcOrd="0" destOrd="3" presId="urn:microsoft.com/office/officeart/2005/8/layout/bList2"/>
    <dgm:cxn modelId="{3A3301E0-563E-46BE-9D2E-E2D68BDF5EFE}" srcId="{0BC1331C-2E75-4ECD-A678-9A30C9D909E2}" destId="{B1E688A3-1D91-46E2-98DA-090CD80E0B05}" srcOrd="1" destOrd="0" parTransId="{0322156C-50F1-4004-839A-5137421896A7}" sibTransId="{631F5C17-A4E4-452B-A3AE-DA06C6CFF430}"/>
    <dgm:cxn modelId="{DE4929E6-6711-4610-ABDA-09B74FEDD4C1}" type="presOf" srcId="{CE8C308E-0D8B-4951-B8B3-D3B4EBB1CC16}" destId="{AD000950-DC72-4F1A-87CA-5BB964166A3E}" srcOrd="0" destOrd="0" presId="urn:microsoft.com/office/officeart/2005/8/layout/bList2"/>
    <dgm:cxn modelId="{DD9011FC-DD53-40A9-851C-D67C7ED2E80D}" type="presOf" srcId="{B1E688A3-1D91-46E2-98DA-090CD80E0B05}" destId="{0E53D2EC-C8D0-4E98-9778-BCE5ABD8E21F}" srcOrd="0" destOrd="0" presId="urn:microsoft.com/office/officeart/2005/8/layout/bList2"/>
    <dgm:cxn modelId="{35B00EFE-7ACF-4F68-AA27-A660E7A92D36}" type="presOf" srcId="{1C30DF96-A417-4CDD-A7F5-BCBD3EBC5F4E}" destId="{54A8A90F-0435-4F39-9923-2A38871C36BF}" srcOrd="0" destOrd="2" presId="urn:microsoft.com/office/officeart/2005/8/layout/bList2"/>
    <dgm:cxn modelId="{0B2576D0-1437-44E2-893C-417BCF3E4EE3}" type="presParOf" srcId="{13D93561-C416-4711-B0ED-7AE9D39C63A6}" destId="{8372EF95-3681-4B0B-BD6B-FF2CEE206022}" srcOrd="0" destOrd="0" presId="urn:microsoft.com/office/officeart/2005/8/layout/bList2"/>
    <dgm:cxn modelId="{41F5E15D-F5E7-4980-9E89-0F9ED9216175}" type="presParOf" srcId="{8372EF95-3681-4B0B-BD6B-FF2CEE206022}" destId="{253308A7-15BF-4D5C-AE13-BE486683323E}" srcOrd="0" destOrd="0" presId="urn:microsoft.com/office/officeart/2005/8/layout/bList2"/>
    <dgm:cxn modelId="{326A04C6-C836-420B-BE9F-E0DCD15CB54D}" type="presParOf" srcId="{8372EF95-3681-4B0B-BD6B-FF2CEE206022}" destId="{38EF504A-198C-483D-A6FB-7F0047CABE75}" srcOrd="1" destOrd="0" presId="urn:microsoft.com/office/officeart/2005/8/layout/bList2"/>
    <dgm:cxn modelId="{554E161D-EF01-4B00-8DF8-CA313C43A0C1}" type="presParOf" srcId="{8372EF95-3681-4B0B-BD6B-FF2CEE206022}" destId="{76EAAF2D-0E09-420C-B02A-1EEAC31D24D2}" srcOrd="2" destOrd="0" presId="urn:microsoft.com/office/officeart/2005/8/layout/bList2"/>
    <dgm:cxn modelId="{576FD28E-99A4-4C19-90C6-B0EC768C5375}" type="presParOf" srcId="{8372EF95-3681-4B0B-BD6B-FF2CEE206022}" destId="{0E14FB86-E707-4C3F-816D-CACC3BC1831F}" srcOrd="3" destOrd="0" presId="urn:microsoft.com/office/officeart/2005/8/layout/bList2"/>
    <dgm:cxn modelId="{94A51C24-8E97-4DA0-956F-BA3CABE2FF7F}" type="presParOf" srcId="{13D93561-C416-4711-B0ED-7AE9D39C63A6}" destId="{A742185D-6E01-49AF-9F7D-6AA94F1B18B2}" srcOrd="1" destOrd="0" presId="urn:microsoft.com/office/officeart/2005/8/layout/bList2"/>
    <dgm:cxn modelId="{BFCA55F7-6385-4349-96B9-F7E777EA3246}" type="presParOf" srcId="{13D93561-C416-4711-B0ED-7AE9D39C63A6}" destId="{05AB36A4-8CCE-4617-82B7-4DBE85158236}" srcOrd="2" destOrd="0" presId="urn:microsoft.com/office/officeart/2005/8/layout/bList2"/>
    <dgm:cxn modelId="{E5BF648C-05AE-4B5C-B9E4-08DC7855B700}" type="presParOf" srcId="{05AB36A4-8CCE-4617-82B7-4DBE85158236}" destId="{1E6A4418-E737-4015-B45D-CA4F9CC787CE}" srcOrd="0" destOrd="0" presId="urn:microsoft.com/office/officeart/2005/8/layout/bList2"/>
    <dgm:cxn modelId="{B97158EB-7390-407B-850C-BC70C42613FD}" type="presParOf" srcId="{05AB36A4-8CCE-4617-82B7-4DBE85158236}" destId="{0E53D2EC-C8D0-4E98-9778-BCE5ABD8E21F}" srcOrd="1" destOrd="0" presId="urn:microsoft.com/office/officeart/2005/8/layout/bList2"/>
    <dgm:cxn modelId="{C24DD14F-F1C5-4846-8D5F-014EE37C9CD5}" type="presParOf" srcId="{05AB36A4-8CCE-4617-82B7-4DBE85158236}" destId="{9BFF9B5D-8D98-40C4-98D0-6D3BA9A85B92}" srcOrd="2" destOrd="0" presId="urn:microsoft.com/office/officeart/2005/8/layout/bList2"/>
    <dgm:cxn modelId="{05DEBABA-B20C-4C8D-80A7-FF1D07020095}" type="presParOf" srcId="{05AB36A4-8CCE-4617-82B7-4DBE85158236}" destId="{73275AFD-0A15-4318-9A06-BCF1446E5C6E}" srcOrd="3" destOrd="0" presId="urn:microsoft.com/office/officeart/2005/8/layout/bList2"/>
    <dgm:cxn modelId="{F093A469-72C6-488C-BF18-53C558AD21A6}" type="presParOf" srcId="{13D93561-C416-4711-B0ED-7AE9D39C63A6}" destId="{9CBB52C1-F80C-4244-88FA-AF2234741ECE}" srcOrd="3" destOrd="0" presId="urn:microsoft.com/office/officeart/2005/8/layout/bList2"/>
    <dgm:cxn modelId="{212F2CB5-49E5-4BDD-BE1C-06FEE0A5DB6E}" type="presParOf" srcId="{13D93561-C416-4711-B0ED-7AE9D39C63A6}" destId="{71FE93AE-4CDA-408B-B9D8-384A669E2A84}" srcOrd="4" destOrd="0" presId="urn:microsoft.com/office/officeart/2005/8/layout/bList2"/>
    <dgm:cxn modelId="{D98DAE3A-5C2D-4B5F-B0BA-C777D3021F51}" type="presParOf" srcId="{71FE93AE-4CDA-408B-B9D8-384A669E2A84}" destId="{4A512D6E-4270-429B-9395-1B5368493A45}" srcOrd="0" destOrd="0" presId="urn:microsoft.com/office/officeart/2005/8/layout/bList2"/>
    <dgm:cxn modelId="{1BE6FDEB-EAB2-4695-83D6-488456CF84E4}" type="presParOf" srcId="{71FE93AE-4CDA-408B-B9D8-384A669E2A84}" destId="{ACB0BED8-2076-4144-9980-2064E4912645}" srcOrd="1" destOrd="0" presId="urn:microsoft.com/office/officeart/2005/8/layout/bList2"/>
    <dgm:cxn modelId="{381DEB00-8458-4310-BAB5-8F7C38969F28}" type="presParOf" srcId="{71FE93AE-4CDA-408B-B9D8-384A669E2A84}" destId="{A6051F57-1E9D-43AB-9317-4E946A356B54}" srcOrd="2" destOrd="0" presId="urn:microsoft.com/office/officeart/2005/8/layout/bList2"/>
    <dgm:cxn modelId="{2C95B6B7-7DF6-4F62-862A-00E035C11C95}" type="presParOf" srcId="{71FE93AE-4CDA-408B-B9D8-384A669E2A84}" destId="{BE219F52-4BE3-4008-ABC8-6D0C1D246A30}" srcOrd="3" destOrd="0" presId="urn:microsoft.com/office/officeart/2005/8/layout/bList2"/>
    <dgm:cxn modelId="{24E64338-9AF0-48ED-9B58-9BE521B0EA3D}" type="presParOf" srcId="{13D93561-C416-4711-B0ED-7AE9D39C63A6}" destId="{8558DD11-2F7B-4E20-9DB7-3312625FD4AA}" srcOrd="5" destOrd="0" presId="urn:microsoft.com/office/officeart/2005/8/layout/bList2"/>
    <dgm:cxn modelId="{DC2987B5-A0FF-4ACB-A503-75C6115D21CF}" type="presParOf" srcId="{13D93561-C416-4711-B0ED-7AE9D39C63A6}" destId="{7EA37662-AF89-476F-9249-A00E75761E74}" srcOrd="6" destOrd="0" presId="urn:microsoft.com/office/officeart/2005/8/layout/bList2"/>
    <dgm:cxn modelId="{9712F4E3-05FF-4DA8-93F8-D86C8FC494D5}" type="presParOf" srcId="{7EA37662-AF89-476F-9249-A00E75761E74}" destId="{AD000950-DC72-4F1A-87CA-5BB964166A3E}" srcOrd="0" destOrd="0" presId="urn:microsoft.com/office/officeart/2005/8/layout/bList2"/>
    <dgm:cxn modelId="{FA180436-8773-4CAC-801E-EAB47719524B}" type="presParOf" srcId="{7EA37662-AF89-476F-9249-A00E75761E74}" destId="{6EB56C3C-F079-48BC-A1E1-E08DB221DF3C}" srcOrd="1" destOrd="0" presId="urn:microsoft.com/office/officeart/2005/8/layout/bList2"/>
    <dgm:cxn modelId="{B31E5233-DE7B-46AA-B2E6-1B3E90779156}" type="presParOf" srcId="{7EA37662-AF89-476F-9249-A00E75761E74}" destId="{25479661-88D4-4F3C-AC4B-89408DE8A203}" srcOrd="2" destOrd="0" presId="urn:microsoft.com/office/officeart/2005/8/layout/bList2"/>
    <dgm:cxn modelId="{4AB3D4C1-0F01-4EBD-8DA2-95F80A2D1F5B}" type="presParOf" srcId="{7EA37662-AF89-476F-9249-A00E75761E74}" destId="{B15F6E00-4F30-4E06-B10D-D7FFCAA7B142}" srcOrd="3" destOrd="0" presId="urn:microsoft.com/office/officeart/2005/8/layout/bList2"/>
    <dgm:cxn modelId="{3522CF3A-6ADC-42DA-B209-9D51DE688819}" type="presParOf" srcId="{13D93561-C416-4711-B0ED-7AE9D39C63A6}" destId="{7C749A18-7B90-4082-96D0-C5DDDEB793C2}" srcOrd="7" destOrd="0" presId="urn:microsoft.com/office/officeart/2005/8/layout/bList2"/>
    <dgm:cxn modelId="{486E23FA-AE8D-408A-87DC-4CE9A8D171D7}" type="presParOf" srcId="{13D93561-C416-4711-B0ED-7AE9D39C63A6}" destId="{D3C8D7AF-F1E3-4DA5-BBF7-549B8B26B8E0}" srcOrd="8" destOrd="0" presId="urn:microsoft.com/office/officeart/2005/8/layout/bList2"/>
    <dgm:cxn modelId="{90447A58-31D6-49A2-A1BF-9E05ECF11248}" type="presParOf" srcId="{D3C8D7AF-F1E3-4DA5-BBF7-549B8B26B8E0}" destId="{54A8A90F-0435-4F39-9923-2A38871C36BF}" srcOrd="0" destOrd="0" presId="urn:microsoft.com/office/officeart/2005/8/layout/bList2"/>
    <dgm:cxn modelId="{D945DEE8-8C6B-46F4-8F35-0038F55955F6}" type="presParOf" srcId="{D3C8D7AF-F1E3-4DA5-BBF7-549B8B26B8E0}" destId="{8344EBE2-279A-4601-B785-4C661DD4CC72}" srcOrd="1" destOrd="0" presId="urn:microsoft.com/office/officeart/2005/8/layout/bList2"/>
    <dgm:cxn modelId="{610C366B-0CB9-4A7A-8EEF-6F7D8E941ACE}" type="presParOf" srcId="{D3C8D7AF-F1E3-4DA5-BBF7-549B8B26B8E0}" destId="{7F3FC3A3-4744-4D86-9E94-84D86B4B436D}" srcOrd="2" destOrd="0" presId="urn:microsoft.com/office/officeart/2005/8/layout/bList2"/>
    <dgm:cxn modelId="{637887FF-D421-4CE7-B5F7-D7292C627801}" type="presParOf" srcId="{D3C8D7AF-F1E3-4DA5-BBF7-549B8B26B8E0}" destId="{E597C7E3-1725-4D64-873A-658B948DFB79}" srcOrd="3" destOrd="0" presId="urn:microsoft.com/office/officeart/2005/8/layout/bList2"/>
    <dgm:cxn modelId="{4DEF253C-9DC8-407B-8DCB-149EF64A692B}" type="presParOf" srcId="{13D93561-C416-4711-B0ED-7AE9D39C63A6}" destId="{261230A3-0724-4F42-9FE3-5BB843F21013}" srcOrd="9" destOrd="0" presId="urn:microsoft.com/office/officeart/2005/8/layout/bList2"/>
    <dgm:cxn modelId="{B0AEECB4-FE36-484A-8AE9-4FAE114AA11B}" type="presParOf" srcId="{13D93561-C416-4711-B0ED-7AE9D39C63A6}" destId="{26660FF5-6AEA-43FE-8A66-DF354BC3FE9E}" srcOrd="10" destOrd="0" presId="urn:microsoft.com/office/officeart/2005/8/layout/bList2"/>
    <dgm:cxn modelId="{6A0CA252-3E78-49F7-89E0-F269CF898A7F}" type="presParOf" srcId="{26660FF5-6AEA-43FE-8A66-DF354BC3FE9E}" destId="{1BEA4FF2-BE70-4384-A64E-332A8840E9CC}" srcOrd="0" destOrd="0" presId="urn:microsoft.com/office/officeart/2005/8/layout/bList2"/>
    <dgm:cxn modelId="{F8C7C87D-0E1B-4038-AD92-8A96FB2D3F45}" type="presParOf" srcId="{26660FF5-6AEA-43FE-8A66-DF354BC3FE9E}" destId="{FAF0AFA7-D1D8-4E07-813B-8D8A16B441E3}" srcOrd="1" destOrd="0" presId="urn:microsoft.com/office/officeart/2005/8/layout/bList2"/>
    <dgm:cxn modelId="{9A3E1A63-9F30-4576-B3E7-AB968A429E0A}" type="presParOf" srcId="{26660FF5-6AEA-43FE-8A66-DF354BC3FE9E}" destId="{1476D0B0-D32C-4E30-B83E-603F9D26A956}" srcOrd="2" destOrd="0" presId="urn:microsoft.com/office/officeart/2005/8/layout/bList2"/>
    <dgm:cxn modelId="{0E0513A5-8E22-4718-8559-74FD984688A8}" type="presParOf" srcId="{26660FF5-6AEA-43FE-8A66-DF354BC3FE9E}" destId="{44187FF7-02D2-484B-8DEF-B315CD61EA54}"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BC1331C-2E75-4ECD-A678-9A30C9D909E2}" type="doc">
      <dgm:prSet loTypeId="urn:microsoft.com/office/officeart/2005/8/layout/bList2" loCatId="list" qsTypeId="urn:microsoft.com/office/officeart/2005/8/quickstyle/simple5" qsCatId="simple" csTypeId="urn:microsoft.com/office/officeart/2005/8/colors/accent1_2" csCatId="accent1" phldr="1"/>
      <dgm:spPr/>
    </dgm:pt>
    <dgm:pt modelId="{27408B03-5CDB-431A-A488-CD06E205F6A0}">
      <dgm:prSet phldrT="[Text]" custT="1"/>
      <dgm:spPr/>
      <dgm:t>
        <a:bodyPr/>
        <a:lstStyle/>
        <a:p>
          <a:r>
            <a:rPr lang="en-IN" sz="1200" b="1" dirty="0">
              <a:latin typeface="Verdana" panose="020B0604030504040204" pitchFamily="34" charset="0"/>
              <a:ea typeface="Verdana" panose="020B0604030504040204" pitchFamily="34" charset="0"/>
            </a:rPr>
            <a:t>Gratuity Settlement Process</a:t>
          </a:r>
        </a:p>
      </dgm:t>
    </dgm:pt>
    <dgm:pt modelId="{4ADCBAE8-6A3D-48B8-857F-0BD5C03A778F}" type="par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5FC2860F-A9EA-4CD5-8A0E-5ADA41E2322B}" type="sibTrans" cxnId="{5D787100-1AF6-46E6-BD6B-3123C351186D}">
      <dgm:prSet/>
      <dgm:spPr/>
      <dgm:t>
        <a:bodyPr/>
        <a:lstStyle/>
        <a:p>
          <a:endParaRPr lang="en-IN" sz="1800">
            <a:latin typeface="Verdana" panose="020B0604030504040204" pitchFamily="34" charset="0"/>
            <a:ea typeface="Verdana" panose="020B0604030504040204" pitchFamily="34" charset="0"/>
          </a:endParaRPr>
        </a:p>
      </dgm:t>
    </dgm:pt>
    <dgm:pt modelId="{FFDA63B7-22E9-4E86-A470-5473E9E0EDE5}">
      <dgm:prSet phldrT="[Text]" custT="1"/>
      <dgm:spPr/>
      <dgm:t>
        <a:bodyPr/>
        <a:lstStyle/>
        <a:p>
          <a:r>
            <a:rPr lang="en-IN" sz="1200" b="1" dirty="0">
              <a:latin typeface="Verdana" panose="020B0604030504040204" pitchFamily="34" charset="0"/>
              <a:ea typeface="Verdana" panose="020B0604030504040204" pitchFamily="34" charset="0"/>
            </a:rPr>
            <a:t>Track Gratuity Settlement Status</a:t>
          </a:r>
        </a:p>
      </dgm:t>
    </dgm:pt>
    <dgm:pt modelId="{6432DE3D-CA65-4D38-A834-3E6F6515CC4D}" type="par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137D3ADA-90A7-4B39-AB0C-FDA626D81F22}" type="sibTrans" cxnId="{AB17B723-8D31-48D7-961E-36DCE3AEE215}">
      <dgm:prSet/>
      <dgm:spPr/>
      <dgm:t>
        <a:bodyPr/>
        <a:lstStyle/>
        <a:p>
          <a:endParaRPr lang="en-IN" sz="1800">
            <a:latin typeface="Verdana" panose="020B0604030504040204" pitchFamily="34" charset="0"/>
            <a:ea typeface="Verdana" panose="020B0604030504040204" pitchFamily="34" charset="0"/>
          </a:endParaRPr>
        </a:p>
      </dgm:t>
    </dgm:pt>
    <dgm:pt modelId="{5E3C5D30-1164-4AC0-8450-45FD4DFA6036}">
      <dgm:prSet custT="1"/>
      <dgm:spPr/>
      <dgm:t>
        <a:bodyPr/>
        <a:lstStyle/>
        <a:p>
          <a:r>
            <a:rPr lang="en-IN" sz="1200" b="1" dirty="0">
              <a:latin typeface="Verdana" panose="020B0604030504040204" pitchFamily="34" charset="0"/>
              <a:ea typeface="Verdana" panose="020B0604030504040204" pitchFamily="34" charset="0"/>
            </a:rPr>
            <a:t>Timeline to process Gratuity Settlement</a:t>
          </a:r>
        </a:p>
      </dgm:t>
    </dgm:pt>
    <dgm:pt modelId="{67FE326E-ECFA-4CFB-B81F-42CC029AEC68}" type="par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D504C69E-8755-446A-81F2-DD218FEED201}" type="sibTrans" cxnId="{7D0B57A4-3D37-4093-87D6-A7602CA14420}">
      <dgm:prSet/>
      <dgm:spPr/>
      <dgm:t>
        <a:bodyPr/>
        <a:lstStyle/>
        <a:p>
          <a:endParaRPr lang="en-IN" sz="1800">
            <a:latin typeface="Verdana" panose="020B0604030504040204" pitchFamily="34" charset="0"/>
            <a:ea typeface="Verdana" panose="020B0604030504040204" pitchFamily="34" charset="0"/>
          </a:endParaRPr>
        </a:p>
      </dgm:t>
    </dgm:pt>
    <dgm:pt modelId="{B1E688A3-1D91-46E2-98DA-090CD80E0B05}">
      <dgm:prSet custT="1"/>
      <dgm:spPr/>
      <dgm:t>
        <a:bodyPr/>
        <a:lstStyle/>
        <a:p>
          <a:r>
            <a:rPr lang="en-IN" sz="1200" b="1" dirty="0">
              <a:latin typeface="Verdana" panose="020B0604030504040204" pitchFamily="34" charset="0"/>
              <a:ea typeface="Verdana" panose="020B0604030504040204" pitchFamily="34" charset="0"/>
            </a:rPr>
            <a:t>Document Required for Gratuity Settlement</a:t>
          </a:r>
        </a:p>
      </dgm:t>
    </dgm:pt>
    <dgm:pt modelId="{0322156C-50F1-4004-839A-5137421896A7}" type="par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631F5C17-A4E4-452B-A3AE-DA06C6CFF430}" type="sibTrans" cxnId="{3A3301E0-563E-46BE-9D2E-E2D68BDF5EFE}">
      <dgm:prSet/>
      <dgm:spPr/>
      <dgm:t>
        <a:bodyPr/>
        <a:lstStyle/>
        <a:p>
          <a:endParaRPr lang="en-IN" sz="1800">
            <a:latin typeface="Verdana" panose="020B0604030504040204" pitchFamily="34" charset="0"/>
            <a:ea typeface="Verdana" panose="020B0604030504040204" pitchFamily="34" charset="0"/>
          </a:endParaRPr>
        </a:p>
      </dgm:t>
    </dgm:pt>
    <dgm:pt modelId="{46EDBB8C-A27B-47FB-90FF-ADE593F7DAB5}">
      <dgm:prSet custT="1"/>
      <dgm:spPr/>
      <dgm:t>
        <a:bodyPr/>
        <a:lstStyle/>
        <a:p>
          <a:r>
            <a:rPr lang="en-IN" sz="1200" b="1" dirty="0">
              <a:latin typeface="Verdana" panose="020B0604030504040204" pitchFamily="34" charset="0"/>
              <a:ea typeface="Verdana" panose="020B0604030504040204" pitchFamily="34" charset="0"/>
            </a:rPr>
            <a:t>Eligibility of Gratuity</a:t>
          </a:r>
        </a:p>
      </dgm:t>
    </dgm:pt>
    <dgm:pt modelId="{BBE6F662-B7F6-4040-991A-49745BEB0D95}" type="par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B2155D58-6E30-4E98-A5AB-FFE24B859D08}" type="sibTrans" cxnId="{18A90C8A-EDE9-4E26-8701-7B0511F533F7}">
      <dgm:prSet/>
      <dgm:spPr/>
      <dgm:t>
        <a:bodyPr/>
        <a:lstStyle/>
        <a:p>
          <a:endParaRPr lang="en-IN" sz="1800">
            <a:latin typeface="Verdana" panose="020B0604030504040204" pitchFamily="34" charset="0"/>
            <a:ea typeface="Verdana" panose="020B0604030504040204" pitchFamily="34" charset="0"/>
          </a:endParaRPr>
        </a:p>
      </dgm:t>
    </dgm:pt>
    <dgm:pt modelId="{9B78ADB5-DDFD-4B1E-9A95-944FC525AA3D}">
      <dgm:prSet custT="1"/>
      <dgm:spPr/>
      <dgm:t>
        <a:bodyPr/>
        <a:lstStyle/>
        <a:p>
          <a:pPr algn="just"/>
          <a:r>
            <a:rPr lang="en-IN" sz="1400" dirty="0">
              <a:latin typeface="Verdana" panose="020B0604030504040204" pitchFamily="34" charset="0"/>
              <a:ea typeface="Verdana" panose="020B0604030504040204" pitchFamily="34" charset="0"/>
            </a:rPr>
            <a:t>An </a:t>
          </a:r>
          <a:r>
            <a:rPr lang="en-IN" sz="1400" b="0" dirty="0">
              <a:latin typeface="Verdana" panose="020B0604030504040204" pitchFamily="34" charset="0"/>
              <a:ea typeface="Verdana" panose="020B0604030504040204" pitchFamily="34" charset="0"/>
            </a:rPr>
            <a:t>employee who worked for </a:t>
          </a:r>
          <a:r>
            <a:rPr lang="en-IN" sz="1400" b="1" dirty="0">
              <a:latin typeface="Verdana" panose="020B0604030504040204" pitchFamily="34" charset="0"/>
              <a:ea typeface="Verdana" panose="020B0604030504040204" pitchFamily="34" charset="0"/>
            </a:rPr>
            <a:t>4 years and 240 days or more,</a:t>
          </a:r>
          <a:r>
            <a:rPr lang="en-IN" sz="1400" dirty="0">
              <a:latin typeface="Verdana" panose="020B0604030504040204" pitchFamily="34" charset="0"/>
              <a:ea typeface="Verdana" panose="020B0604030504040204" pitchFamily="34" charset="0"/>
            </a:rPr>
            <a:t> will be eligible for Gratuity.</a:t>
          </a:r>
        </a:p>
      </dgm:t>
    </dgm:pt>
    <dgm:pt modelId="{B0E73393-0328-4A94-AFCB-5BE17549BFF6}" type="par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5D80EAA9-B20E-454C-9171-ECEE4645CA6E}" type="sibTrans" cxnId="{EFAA91D3-7546-4E1F-841C-B1EA9486E903}">
      <dgm:prSet/>
      <dgm:spPr/>
      <dgm:t>
        <a:bodyPr/>
        <a:lstStyle/>
        <a:p>
          <a:endParaRPr lang="en-IN" sz="1800">
            <a:latin typeface="Verdana" panose="020B0604030504040204" pitchFamily="34" charset="0"/>
            <a:ea typeface="Verdana" panose="020B0604030504040204" pitchFamily="34" charset="0"/>
          </a:endParaRPr>
        </a:p>
      </dgm:t>
    </dgm:pt>
    <dgm:pt modelId="{BC55DB1B-A7FE-408D-A005-E16FCACB9A82}">
      <dgm:prSet custT="1"/>
      <dgm:spPr/>
      <dgm:t>
        <a:bodyPr/>
        <a:lstStyle/>
        <a:p>
          <a:pPr algn="just"/>
          <a:r>
            <a:rPr lang="en-IN" sz="1400" dirty="0">
              <a:latin typeface="Verdana" panose="020B0604030504040204" pitchFamily="34" charset="0"/>
              <a:ea typeface="Verdana" panose="020B0604030504040204" pitchFamily="34" charset="0"/>
            </a:rPr>
            <a:t>We will process your gratuity </a:t>
          </a:r>
          <a:r>
            <a:rPr lang="en-IN" sz="1400" b="1" dirty="0">
              <a:latin typeface="Verdana" panose="020B0604030504040204" pitchFamily="34" charset="0"/>
              <a:ea typeface="Verdana" panose="020B0604030504040204" pitchFamily="34" charset="0"/>
            </a:rPr>
            <a:t>without Form.</a:t>
          </a:r>
          <a:r>
            <a:rPr lang="en-IN" sz="1400" dirty="0">
              <a:latin typeface="Verdana" panose="020B0604030504040204" pitchFamily="34" charset="0"/>
              <a:ea typeface="Verdana" panose="020B0604030504040204" pitchFamily="34" charset="0"/>
            </a:rPr>
            <a:t> </a:t>
          </a:r>
        </a:p>
      </dgm:t>
    </dgm:pt>
    <dgm:pt modelId="{2D5EFEF6-09E5-4189-966A-47917FFC3B31}" type="par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5AC29784-F4BC-424E-A911-09E7F85BC35E}" type="sibTrans" cxnId="{118B7D46-7516-4C4D-B74D-C9DF0C4FA7B7}">
      <dgm:prSet/>
      <dgm:spPr/>
      <dgm:t>
        <a:bodyPr/>
        <a:lstStyle/>
        <a:p>
          <a:endParaRPr lang="en-IN" sz="1800">
            <a:latin typeface="Verdana" panose="020B0604030504040204" pitchFamily="34" charset="0"/>
            <a:ea typeface="Verdana" panose="020B0604030504040204" pitchFamily="34" charset="0"/>
          </a:endParaRPr>
        </a:p>
      </dgm:t>
    </dgm:pt>
    <dgm:pt modelId="{CE8C308E-0D8B-4951-B8B3-D3B4EBB1CC16}">
      <dgm:prSet custT="1"/>
      <dgm:spPr/>
      <dgm:t>
        <a:bodyPr/>
        <a:lstStyle/>
        <a:p>
          <a:pPr algn="just"/>
          <a:r>
            <a:rPr lang="en-IN" sz="1400" dirty="0">
              <a:latin typeface="Verdana" panose="020B0604030504040204" pitchFamily="34" charset="0"/>
              <a:ea typeface="Verdana" panose="020B0604030504040204" pitchFamily="34" charset="0"/>
            </a:rPr>
            <a:t>Gratuity claim is processed and disbursed </a:t>
          </a:r>
          <a:r>
            <a:rPr lang="en-IN" sz="1400" b="1" dirty="0">
              <a:latin typeface="Verdana" panose="020B0604030504040204" pitchFamily="34" charset="0"/>
              <a:ea typeface="Verdana" panose="020B0604030504040204" pitchFamily="34" charset="0"/>
            </a:rPr>
            <a:t>within 30 days from your last working date</a:t>
          </a:r>
          <a:r>
            <a:rPr lang="en-IN" sz="1400" dirty="0">
              <a:latin typeface="Verdana" panose="020B0604030504040204" pitchFamily="34" charset="0"/>
              <a:ea typeface="Verdana" panose="020B0604030504040204" pitchFamily="34" charset="0"/>
            </a:rPr>
            <a:t>.</a:t>
          </a:r>
        </a:p>
      </dgm:t>
    </dgm:pt>
    <dgm:pt modelId="{474DD048-8E3F-4506-A050-56BF4C2CA2F8}" type="par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FDB620C5-1F25-4E9D-8ECF-DD1524BC23EE}" type="sibTrans" cxnId="{5CC52B5A-E128-4D17-B457-DC4A6029D50D}">
      <dgm:prSet/>
      <dgm:spPr/>
      <dgm:t>
        <a:bodyPr/>
        <a:lstStyle/>
        <a:p>
          <a:endParaRPr lang="en-IN" sz="1800">
            <a:latin typeface="Verdana" panose="020B0604030504040204" pitchFamily="34" charset="0"/>
            <a:ea typeface="Verdana" panose="020B0604030504040204" pitchFamily="34" charset="0"/>
          </a:endParaRPr>
        </a:p>
      </dgm:t>
    </dgm:pt>
    <dgm:pt modelId="{13D05D3A-2F1C-4192-9BFB-A88519BE6983}">
      <dgm:prSet custT="1"/>
      <dgm:spPr/>
      <dgm:t>
        <a:bodyPr/>
        <a:lstStyle/>
        <a:p>
          <a:pPr algn="just"/>
          <a:r>
            <a:rPr lang="en-IN" sz="1400" b="1" dirty="0">
              <a:latin typeface="Verdana" panose="020B0604030504040204" pitchFamily="34" charset="0"/>
              <a:ea typeface="Verdana" panose="020B0604030504040204" pitchFamily="34" charset="0"/>
            </a:rPr>
            <a:t>Gratuity</a:t>
          </a:r>
          <a:r>
            <a:rPr lang="en-IN" sz="1400" dirty="0">
              <a:latin typeface="Verdana" panose="020B0604030504040204" pitchFamily="34" charset="0"/>
              <a:ea typeface="Verdana" panose="020B0604030504040204" pitchFamily="34" charset="0"/>
            </a:rPr>
            <a:t> claim is processed </a:t>
          </a:r>
          <a:r>
            <a:rPr lang="en-IN" sz="1400" b="1" dirty="0">
              <a:latin typeface="Verdana" panose="020B0604030504040204" pitchFamily="34" charset="0"/>
              <a:ea typeface="Verdana" panose="020B0604030504040204" pitchFamily="34" charset="0"/>
            </a:rPr>
            <a:t>separately</a:t>
          </a:r>
          <a:r>
            <a:rPr lang="en-IN" sz="1400" dirty="0">
              <a:latin typeface="Verdana" panose="020B0604030504040204" pitchFamily="34" charset="0"/>
              <a:ea typeface="Verdana" panose="020B0604030504040204" pitchFamily="34" charset="0"/>
            </a:rPr>
            <a:t> and </a:t>
          </a:r>
          <a:r>
            <a:rPr lang="en-IN" sz="1400" b="1" dirty="0">
              <a:latin typeface="Verdana" panose="020B0604030504040204" pitchFamily="34" charset="0"/>
              <a:ea typeface="Verdana" panose="020B0604030504040204" pitchFamily="34" charset="0"/>
            </a:rPr>
            <a:t>not along with the final settlement</a:t>
          </a:r>
          <a:r>
            <a:rPr lang="en-IN" sz="1400" dirty="0">
              <a:latin typeface="Verdana" panose="020B0604030504040204" pitchFamily="34" charset="0"/>
              <a:ea typeface="Verdana" panose="020B0604030504040204" pitchFamily="34" charset="0"/>
            </a:rPr>
            <a:t>.</a:t>
          </a:r>
        </a:p>
      </dgm:t>
    </dgm:pt>
    <dgm:pt modelId="{134F7F12-5AFA-4763-BCBD-DBE27B9C5FBB}" type="par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58D24C03-919B-425C-B1CD-4B515210170B}" type="sibTrans" cxnId="{9482567B-9426-4D25-9EF3-42CBD9DC4D85}">
      <dgm:prSet/>
      <dgm:spPr/>
      <dgm:t>
        <a:bodyPr/>
        <a:lstStyle/>
        <a:p>
          <a:endParaRPr lang="en-IN" sz="1800">
            <a:latin typeface="Verdana" panose="020B0604030504040204" pitchFamily="34" charset="0"/>
            <a:ea typeface="Verdana" panose="020B0604030504040204" pitchFamily="34" charset="0"/>
          </a:endParaRPr>
        </a:p>
      </dgm:t>
    </dgm:pt>
    <dgm:pt modelId="{87F92335-1A1E-4553-A280-523B7A65C46B}">
      <dgm:prSet custT="1"/>
      <dgm:spPr/>
      <dgm:t>
        <a:bodyPr/>
        <a:lstStyle/>
        <a:p>
          <a:r>
            <a:rPr lang="en-IN" sz="1400" dirty="0"/>
            <a:t>Raise a ticket on </a:t>
          </a:r>
          <a:r>
            <a:rPr lang="en-IN" sz="1400" b="1" dirty="0">
              <a:solidFill>
                <a:schemeClr val="tx1"/>
              </a:solidFill>
              <a:highlight>
                <a:srgbClr val="FFFF00"/>
              </a:highlight>
              <a:hlinkClick xmlns:r="http://schemas.openxmlformats.org/officeDocument/2006/relationships" r:id="rId1">
                <a:extLst>
                  <a:ext uri="{A12FA001-AC4F-418D-AE19-62706E023703}">
                    <ahyp:hlinkClr xmlns:ahyp="http://schemas.microsoft.com/office/drawing/2018/hyperlinkcolor" val="tx"/>
                  </a:ext>
                </a:extLst>
              </a:hlinkClick>
            </a:rPr>
            <a:t>retiralshelpdesk.in@neocasemail.com</a:t>
          </a:r>
          <a:r>
            <a:rPr lang="en-IN" sz="1400" b="1" dirty="0">
              <a:highlight>
                <a:srgbClr val="FFFF00"/>
              </a:highlight>
            </a:rPr>
            <a:t> </a:t>
          </a:r>
          <a:r>
            <a:rPr lang="en-IN" sz="1400" b="0" dirty="0"/>
            <a:t>in case Gratuity payment is not completed within 30 days from your date of exit.</a:t>
          </a:r>
        </a:p>
      </dgm:t>
    </dgm:pt>
    <dgm:pt modelId="{AB9DE57F-688D-4871-A35D-015B5AB2243B}" type="parTrans" cxnId="{6BB35CA5-55E0-4AAB-9760-0A8B67FFF1F0}">
      <dgm:prSet/>
      <dgm:spPr/>
      <dgm:t>
        <a:bodyPr/>
        <a:lstStyle/>
        <a:p>
          <a:endParaRPr lang="en-IN" sz="1800"/>
        </a:p>
      </dgm:t>
    </dgm:pt>
    <dgm:pt modelId="{8488F2EE-AD76-46C4-81BA-D133B72F7329}" type="sibTrans" cxnId="{6BB35CA5-55E0-4AAB-9760-0A8B67FFF1F0}">
      <dgm:prSet/>
      <dgm:spPr/>
      <dgm:t>
        <a:bodyPr/>
        <a:lstStyle/>
        <a:p>
          <a:endParaRPr lang="en-IN" sz="1800"/>
        </a:p>
      </dgm:t>
    </dgm:pt>
    <dgm:pt modelId="{59B35BAC-6541-496A-B398-AEC339AB06D1}">
      <dgm:prSet custT="1"/>
      <dgm:spPr/>
      <dgm:t>
        <a:bodyPr/>
        <a:lstStyle/>
        <a:p>
          <a:pPr algn="just"/>
          <a:r>
            <a:rPr lang="en-IN" sz="1400" dirty="0">
              <a:latin typeface="Verdana" panose="020B0604030504040204" pitchFamily="34" charset="0"/>
              <a:ea typeface="Verdana" panose="020B0604030504040204" pitchFamily="34" charset="0"/>
            </a:rPr>
            <a:t>It is processed </a:t>
          </a:r>
          <a:r>
            <a:rPr lang="en-IN" sz="1400" b="0" dirty="0">
              <a:latin typeface="Verdana" panose="020B0604030504040204" pitchFamily="34" charset="0"/>
              <a:ea typeface="Verdana" panose="020B0604030504040204" pitchFamily="34" charset="0"/>
            </a:rPr>
            <a:t>only</a:t>
          </a:r>
          <a:r>
            <a:rPr lang="en-IN" sz="1400" b="1" dirty="0">
              <a:latin typeface="Verdana" panose="020B0604030504040204" pitchFamily="34" charset="0"/>
              <a:ea typeface="Verdana" panose="020B0604030504040204" pitchFamily="34" charset="0"/>
            </a:rPr>
            <a:t> after your date of exit</a:t>
          </a:r>
          <a:r>
            <a:rPr lang="en-IN" sz="1400" dirty="0">
              <a:latin typeface="Verdana" panose="020B0604030504040204" pitchFamily="34" charset="0"/>
              <a:ea typeface="Verdana" panose="020B0604030504040204" pitchFamily="34" charset="0"/>
            </a:rPr>
            <a:t>.</a:t>
          </a:r>
        </a:p>
      </dgm:t>
    </dgm:pt>
    <dgm:pt modelId="{D583B6A4-C96F-49B1-A955-6E1F0A785941}" type="parTrans" cxnId="{7B1E1D91-FFA2-4356-95A9-01A0B67E4DEF}">
      <dgm:prSet/>
      <dgm:spPr/>
      <dgm:t>
        <a:bodyPr/>
        <a:lstStyle/>
        <a:p>
          <a:endParaRPr lang="en-IN"/>
        </a:p>
      </dgm:t>
    </dgm:pt>
    <dgm:pt modelId="{A709E061-70C9-4F24-B50A-88A167C7EED0}" type="sibTrans" cxnId="{7B1E1D91-FFA2-4356-95A9-01A0B67E4DEF}">
      <dgm:prSet/>
      <dgm:spPr/>
      <dgm:t>
        <a:bodyPr/>
        <a:lstStyle/>
        <a:p>
          <a:endParaRPr lang="en-IN"/>
        </a:p>
      </dgm:t>
    </dgm:pt>
    <dgm:pt modelId="{13D93561-C416-4711-B0ED-7AE9D39C63A6}" type="pres">
      <dgm:prSet presAssocID="{0BC1331C-2E75-4ECD-A678-9A30C9D909E2}" presName="diagram" presStyleCnt="0">
        <dgm:presLayoutVars>
          <dgm:dir/>
          <dgm:animLvl val="lvl"/>
          <dgm:resizeHandles val="exact"/>
        </dgm:presLayoutVars>
      </dgm:prSet>
      <dgm:spPr/>
    </dgm:pt>
    <dgm:pt modelId="{8372EF95-3681-4B0B-BD6B-FF2CEE206022}" type="pres">
      <dgm:prSet presAssocID="{46EDBB8C-A27B-47FB-90FF-ADE593F7DAB5}" presName="compNode" presStyleCnt="0"/>
      <dgm:spPr/>
    </dgm:pt>
    <dgm:pt modelId="{253308A7-15BF-4D5C-AE13-BE486683323E}" type="pres">
      <dgm:prSet presAssocID="{46EDBB8C-A27B-47FB-90FF-ADE593F7DAB5}" presName="childRect" presStyleLbl="bgAcc1" presStyleIdx="0" presStyleCnt="5">
        <dgm:presLayoutVars>
          <dgm:bulletEnabled val="1"/>
        </dgm:presLayoutVars>
      </dgm:prSet>
      <dgm:spPr/>
    </dgm:pt>
    <dgm:pt modelId="{38EF504A-198C-483D-A6FB-7F0047CABE75}" type="pres">
      <dgm:prSet presAssocID="{46EDBB8C-A27B-47FB-90FF-ADE593F7DAB5}" presName="parentText" presStyleLbl="node1" presStyleIdx="0" presStyleCnt="0">
        <dgm:presLayoutVars>
          <dgm:chMax val="0"/>
          <dgm:bulletEnabled val="1"/>
        </dgm:presLayoutVars>
      </dgm:prSet>
      <dgm:spPr/>
    </dgm:pt>
    <dgm:pt modelId="{76EAAF2D-0E09-420C-B02A-1EEAC31D24D2}" type="pres">
      <dgm:prSet presAssocID="{46EDBB8C-A27B-47FB-90FF-ADE593F7DAB5}" presName="parentRect" presStyleLbl="alignNode1" presStyleIdx="0" presStyleCnt="5"/>
      <dgm:spPr/>
    </dgm:pt>
    <dgm:pt modelId="{0E14FB86-E707-4C3F-816D-CACC3BC1831F}" type="pres">
      <dgm:prSet presAssocID="{46EDBB8C-A27B-47FB-90FF-ADE593F7DAB5}" presName="adorn" presStyleLbl="fgAccFollowNode1" presStyleIdx="0" presStyleCnt="5"/>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dgm:spPr>
      <dgm:extLst>
        <a:ext uri="{E40237B7-FDA0-4F09-8148-C483321AD2D9}">
          <dgm14:cNvPr xmlns:dgm14="http://schemas.microsoft.com/office/drawing/2010/diagram" id="0" name="" descr="Badge 1 with solid fill"/>
        </a:ext>
      </dgm:extLst>
    </dgm:pt>
    <dgm:pt modelId="{A742185D-6E01-49AF-9F7D-6AA94F1B18B2}" type="pres">
      <dgm:prSet presAssocID="{B2155D58-6E30-4E98-A5AB-FFE24B859D08}" presName="sibTrans" presStyleLbl="sibTrans2D1" presStyleIdx="0" presStyleCnt="0"/>
      <dgm:spPr/>
    </dgm:pt>
    <dgm:pt modelId="{05AB36A4-8CCE-4617-82B7-4DBE85158236}" type="pres">
      <dgm:prSet presAssocID="{B1E688A3-1D91-46E2-98DA-090CD80E0B05}" presName="compNode" presStyleCnt="0"/>
      <dgm:spPr/>
    </dgm:pt>
    <dgm:pt modelId="{1E6A4418-E737-4015-B45D-CA4F9CC787CE}" type="pres">
      <dgm:prSet presAssocID="{B1E688A3-1D91-46E2-98DA-090CD80E0B05}" presName="childRect" presStyleLbl="bgAcc1" presStyleIdx="1" presStyleCnt="5">
        <dgm:presLayoutVars>
          <dgm:bulletEnabled val="1"/>
        </dgm:presLayoutVars>
      </dgm:prSet>
      <dgm:spPr/>
    </dgm:pt>
    <dgm:pt modelId="{0E53D2EC-C8D0-4E98-9778-BCE5ABD8E21F}" type="pres">
      <dgm:prSet presAssocID="{B1E688A3-1D91-46E2-98DA-090CD80E0B05}" presName="parentText" presStyleLbl="node1" presStyleIdx="0" presStyleCnt="0">
        <dgm:presLayoutVars>
          <dgm:chMax val="0"/>
          <dgm:bulletEnabled val="1"/>
        </dgm:presLayoutVars>
      </dgm:prSet>
      <dgm:spPr/>
    </dgm:pt>
    <dgm:pt modelId="{9BFF9B5D-8D98-40C4-98D0-6D3BA9A85B92}" type="pres">
      <dgm:prSet presAssocID="{B1E688A3-1D91-46E2-98DA-090CD80E0B05}" presName="parentRect" presStyleLbl="alignNode1" presStyleIdx="1" presStyleCnt="5"/>
      <dgm:spPr/>
    </dgm:pt>
    <dgm:pt modelId="{73275AFD-0A15-4318-9A06-BCF1446E5C6E}" type="pres">
      <dgm:prSet presAssocID="{B1E688A3-1D91-46E2-98DA-090CD80E0B05}" presName="adorn" presStyleLbl="fgAccFollowNode1" presStyleIdx="1" presStyleCnt="5"/>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Badge with solid fill"/>
        </a:ext>
      </dgm:extLst>
    </dgm:pt>
    <dgm:pt modelId="{9CBB52C1-F80C-4244-88FA-AF2234741ECE}" type="pres">
      <dgm:prSet presAssocID="{631F5C17-A4E4-452B-A3AE-DA06C6CFF430}" presName="sibTrans" presStyleLbl="sibTrans2D1" presStyleIdx="0" presStyleCnt="0"/>
      <dgm:spPr/>
    </dgm:pt>
    <dgm:pt modelId="{7EA37662-AF89-476F-9249-A00E75761E74}" type="pres">
      <dgm:prSet presAssocID="{5E3C5D30-1164-4AC0-8450-45FD4DFA6036}" presName="compNode" presStyleCnt="0"/>
      <dgm:spPr/>
    </dgm:pt>
    <dgm:pt modelId="{AD000950-DC72-4F1A-87CA-5BB964166A3E}" type="pres">
      <dgm:prSet presAssocID="{5E3C5D30-1164-4AC0-8450-45FD4DFA6036}" presName="childRect" presStyleLbl="bgAcc1" presStyleIdx="2" presStyleCnt="5">
        <dgm:presLayoutVars>
          <dgm:bulletEnabled val="1"/>
        </dgm:presLayoutVars>
      </dgm:prSet>
      <dgm:spPr/>
    </dgm:pt>
    <dgm:pt modelId="{6EB56C3C-F079-48BC-A1E1-E08DB221DF3C}" type="pres">
      <dgm:prSet presAssocID="{5E3C5D30-1164-4AC0-8450-45FD4DFA6036}" presName="parentText" presStyleLbl="node1" presStyleIdx="0" presStyleCnt="0">
        <dgm:presLayoutVars>
          <dgm:chMax val="0"/>
          <dgm:bulletEnabled val="1"/>
        </dgm:presLayoutVars>
      </dgm:prSet>
      <dgm:spPr/>
    </dgm:pt>
    <dgm:pt modelId="{25479661-88D4-4F3C-AC4B-89408DE8A203}" type="pres">
      <dgm:prSet presAssocID="{5E3C5D30-1164-4AC0-8450-45FD4DFA6036}" presName="parentRect" presStyleLbl="alignNode1" presStyleIdx="2" presStyleCnt="5"/>
      <dgm:spPr/>
    </dgm:pt>
    <dgm:pt modelId="{B15F6E00-4F30-4E06-B10D-D7FFCAA7B142}" type="pres">
      <dgm:prSet presAssocID="{5E3C5D30-1164-4AC0-8450-45FD4DFA6036}" presName="adorn" presStyleLbl="fgAccFollowNode1" presStyleIdx="2" presStyleCnt="5"/>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Badge 3 with solid fill"/>
        </a:ext>
      </dgm:extLst>
    </dgm:pt>
    <dgm:pt modelId="{7C749A18-7B90-4082-96D0-C5DDDEB793C2}" type="pres">
      <dgm:prSet presAssocID="{D504C69E-8755-446A-81F2-DD218FEED201}" presName="sibTrans" presStyleLbl="sibTrans2D1" presStyleIdx="0" presStyleCnt="0"/>
      <dgm:spPr/>
    </dgm:pt>
    <dgm:pt modelId="{71FE93AE-4CDA-408B-B9D8-384A669E2A84}" type="pres">
      <dgm:prSet presAssocID="{27408B03-5CDB-431A-A488-CD06E205F6A0}" presName="compNode" presStyleCnt="0"/>
      <dgm:spPr/>
    </dgm:pt>
    <dgm:pt modelId="{4A512D6E-4270-429B-9395-1B5368493A45}" type="pres">
      <dgm:prSet presAssocID="{27408B03-5CDB-431A-A488-CD06E205F6A0}" presName="childRect" presStyleLbl="bgAcc1" presStyleIdx="3" presStyleCnt="5">
        <dgm:presLayoutVars>
          <dgm:bulletEnabled val="1"/>
        </dgm:presLayoutVars>
      </dgm:prSet>
      <dgm:spPr/>
    </dgm:pt>
    <dgm:pt modelId="{ACB0BED8-2076-4144-9980-2064E4912645}" type="pres">
      <dgm:prSet presAssocID="{27408B03-5CDB-431A-A488-CD06E205F6A0}" presName="parentText" presStyleLbl="node1" presStyleIdx="0" presStyleCnt="0">
        <dgm:presLayoutVars>
          <dgm:chMax val="0"/>
          <dgm:bulletEnabled val="1"/>
        </dgm:presLayoutVars>
      </dgm:prSet>
      <dgm:spPr/>
    </dgm:pt>
    <dgm:pt modelId="{A6051F57-1E9D-43AB-9317-4E946A356B54}" type="pres">
      <dgm:prSet presAssocID="{27408B03-5CDB-431A-A488-CD06E205F6A0}" presName="parentRect" presStyleLbl="alignNode1" presStyleIdx="3" presStyleCnt="5"/>
      <dgm:spPr/>
    </dgm:pt>
    <dgm:pt modelId="{BE219F52-4BE3-4008-ABC8-6D0C1D246A30}" type="pres">
      <dgm:prSet presAssocID="{27408B03-5CDB-431A-A488-CD06E205F6A0}" presName="adorn" presStyleLbl="fgAccFollowNode1" presStyleIdx="3" presStyleCnt="5"/>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dgm:spPr>
      <dgm:extLst>
        <a:ext uri="{E40237B7-FDA0-4F09-8148-C483321AD2D9}">
          <dgm14:cNvPr xmlns:dgm14="http://schemas.microsoft.com/office/drawing/2010/diagram" id="0" name="" descr="Badge 4 with solid fill"/>
        </a:ext>
      </dgm:extLst>
    </dgm:pt>
    <dgm:pt modelId="{8558DD11-2F7B-4E20-9DB7-3312625FD4AA}" type="pres">
      <dgm:prSet presAssocID="{5FC2860F-A9EA-4CD5-8A0E-5ADA41E2322B}" presName="sibTrans" presStyleLbl="sibTrans2D1" presStyleIdx="0" presStyleCnt="0"/>
      <dgm:spPr/>
    </dgm:pt>
    <dgm:pt modelId="{D3C8D7AF-F1E3-4DA5-BBF7-549B8B26B8E0}" type="pres">
      <dgm:prSet presAssocID="{FFDA63B7-22E9-4E86-A470-5473E9E0EDE5}" presName="compNode" presStyleCnt="0"/>
      <dgm:spPr/>
    </dgm:pt>
    <dgm:pt modelId="{54A8A90F-0435-4F39-9923-2A38871C36BF}" type="pres">
      <dgm:prSet presAssocID="{FFDA63B7-22E9-4E86-A470-5473E9E0EDE5}" presName="childRect" presStyleLbl="bgAcc1" presStyleIdx="4" presStyleCnt="5">
        <dgm:presLayoutVars>
          <dgm:bulletEnabled val="1"/>
        </dgm:presLayoutVars>
      </dgm:prSet>
      <dgm:spPr/>
    </dgm:pt>
    <dgm:pt modelId="{8344EBE2-279A-4601-B785-4C661DD4CC72}" type="pres">
      <dgm:prSet presAssocID="{FFDA63B7-22E9-4E86-A470-5473E9E0EDE5}" presName="parentText" presStyleLbl="node1" presStyleIdx="0" presStyleCnt="0">
        <dgm:presLayoutVars>
          <dgm:chMax val="0"/>
          <dgm:bulletEnabled val="1"/>
        </dgm:presLayoutVars>
      </dgm:prSet>
      <dgm:spPr/>
    </dgm:pt>
    <dgm:pt modelId="{7F3FC3A3-4744-4D86-9E94-84D86B4B436D}" type="pres">
      <dgm:prSet presAssocID="{FFDA63B7-22E9-4E86-A470-5473E9E0EDE5}" presName="parentRect" presStyleLbl="alignNode1" presStyleIdx="4" presStyleCnt="5"/>
      <dgm:spPr/>
    </dgm:pt>
    <dgm:pt modelId="{E597C7E3-1725-4D64-873A-658B948DFB79}" type="pres">
      <dgm:prSet presAssocID="{FFDA63B7-22E9-4E86-A470-5473E9E0EDE5}" presName="adorn" presStyleLbl="fgAccFollowNode1" presStyleIdx="4" presStyleCnt="5"/>
      <dgm:spPr>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dgm:spPr>
      <dgm:extLst>
        <a:ext uri="{E40237B7-FDA0-4F09-8148-C483321AD2D9}">
          <dgm14:cNvPr xmlns:dgm14="http://schemas.microsoft.com/office/drawing/2010/diagram" id="0" name="" descr="Badge 5 with solid fill"/>
        </a:ext>
      </dgm:extLst>
    </dgm:pt>
  </dgm:ptLst>
  <dgm:cxnLst>
    <dgm:cxn modelId="{5D787100-1AF6-46E6-BD6B-3123C351186D}" srcId="{0BC1331C-2E75-4ECD-A678-9A30C9D909E2}" destId="{27408B03-5CDB-431A-A488-CD06E205F6A0}" srcOrd="3" destOrd="0" parTransId="{4ADCBAE8-6A3D-48B8-857F-0BD5C03A778F}" sibTransId="{5FC2860F-A9EA-4CD5-8A0E-5ADA41E2322B}"/>
    <dgm:cxn modelId="{6CB97511-A318-4802-AB75-8AAC30DABBA9}" type="presOf" srcId="{87F92335-1A1E-4553-A280-523B7A65C46B}" destId="{54A8A90F-0435-4F39-9923-2A38871C36BF}" srcOrd="0" destOrd="0" presId="urn:microsoft.com/office/officeart/2005/8/layout/bList2"/>
    <dgm:cxn modelId="{AB17B723-8D31-48D7-961E-36DCE3AEE215}" srcId="{0BC1331C-2E75-4ECD-A678-9A30C9D909E2}" destId="{FFDA63B7-22E9-4E86-A470-5473E9E0EDE5}" srcOrd="4" destOrd="0" parTransId="{6432DE3D-CA65-4D38-A834-3E6F6515CC4D}" sibTransId="{137D3ADA-90A7-4B39-AB0C-FDA626D81F22}"/>
    <dgm:cxn modelId="{C28F003A-BF1E-4EC9-92FE-C4BDFC87D4DB}" type="presOf" srcId="{27408B03-5CDB-431A-A488-CD06E205F6A0}" destId="{A6051F57-1E9D-43AB-9317-4E946A356B54}" srcOrd="1" destOrd="0" presId="urn:microsoft.com/office/officeart/2005/8/layout/bList2"/>
    <dgm:cxn modelId="{78559E5B-CBCF-4195-8CFF-BC67BC21BD52}" type="presOf" srcId="{5E3C5D30-1164-4AC0-8450-45FD4DFA6036}" destId="{6EB56C3C-F079-48BC-A1E1-E08DB221DF3C}" srcOrd="0" destOrd="0" presId="urn:microsoft.com/office/officeart/2005/8/layout/bList2"/>
    <dgm:cxn modelId="{91541060-283E-427D-8F0A-6DD8F491B0BD}" type="presOf" srcId="{5E3C5D30-1164-4AC0-8450-45FD4DFA6036}" destId="{25479661-88D4-4F3C-AC4B-89408DE8A203}" srcOrd="1" destOrd="0" presId="urn:microsoft.com/office/officeart/2005/8/layout/bList2"/>
    <dgm:cxn modelId="{DF408662-2943-43BD-A9DF-850C732501FD}" type="presOf" srcId="{59B35BAC-6541-496A-B398-AEC339AB06D1}" destId="{253308A7-15BF-4D5C-AE13-BE486683323E}" srcOrd="0" destOrd="1" presId="urn:microsoft.com/office/officeart/2005/8/layout/bList2"/>
    <dgm:cxn modelId="{F0E11B66-E001-4516-A8A3-67363D64C52E}" type="presOf" srcId="{0BC1331C-2E75-4ECD-A678-9A30C9D909E2}" destId="{13D93561-C416-4711-B0ED-7AE9D39C63A6}" srcOrd="0" destOrd="0" presId="urn:microsoft.com/office/officeart/2005/8/layout/bList2"/>
    <dgm:cxn modelId="{51A75366-DB5D-4BB8-AAB5-B08B55679596}" type="presOf" srcId="{13D05D3A-2F1C-4192-9BFB-A88519BE6983}" destId="{4A512D6E-4270-429B-9395-1B5368493A45}" srcOrd="0" destOrd="0" presId="urn:microsoft.com/office/officeart/2005/8/layout/bList2"/>
    <dgm:cxn modelId="{118B7D46-7516-4C4D-B74D-C9DF0C4FA7B7}" srcId="{B1E688A3-1D91-46E2-98DA-090CD80E0B05}" destId="{BC55DB1B-A7FE-408D-A005-E16FCACB9A82}" srcOrd="0" destOrd="0" parTransId="{2D5EFEF6-09E5-4189-966A-47917FFC3B31}" sibTransId="{5AC29784-F4BC-424E-A911-09E7F85BC35E}"/>
    <dgm:cxn modelId="{254EAC67-595B-4800-B435-31889838FAED}" type="presOf" srcId="{46EDBB8C-A27B-47FB-90FF-ADE593F7DAB5}" destId="{76EAAF2D-0E09-420C-B02A-1EEAC31D24D2}" srcOrd="1" destOrd="0" presId="urn:microsoft.com/office/officeart/2005/8/layout/bList2"/>
    <dgm:cxn modelId="{CEFCEC48-2BC1-4117-B90E-27AB45C915A9}" type="presOf" srcId="{BC55DB1B-A7FE-408D-A005-E16FCACB9A82}" destId="{1E6A4418-E737-4015-B45D-CA4F9CC787CE}" srcOrd="0" destOrd="0" presId="urn:microsoft.com/office/officeart/2005/8/layout/bList2"/>
    <dgm:cxn modelId="{5CC52B5A-E128-4D17-B457-DC4A6029D50D}" srcId="{5E3C5D30-1164-4AC0-8450-45FD4DFA6036}" destId="{CE8C308E-0D8B-4951-B8B3-D3B4EBB1CC16}" srcOrd="0" destOrd="0" parTransId="{474DD048-8E3F-4506-A050-56BF4C2CA2F8}" sibTransId="{FDB620C5-1F25-4E9D-8ECF-DD1524BC23EE}"/>
    <dgm:cxn modelId="{9482567B-9426-4D25-9EF3-42CBD9DC4D85}" srcId="{27408B03-5CDB-431A-A488-CD06E205F6A0}" destId="{13D05D3A-2F1C-4192-9BFB-A88519BE6983}" srcOrd="0" destOrd="0" parTransId="{134F7F12-5AFA-4763-BCBD-DBE27B9C5FBB}" sibTransId="{58D24C03-919B-425C-B1CD-4B515210170B}"/>
    <dgm:cxn modelId="{53B6B47F-D332-4AB4-8EAA-F1711AF4049B}" type="presOf" srcId="{9B78ADB5-DDFD-4B1E-9A95-944FC525AA3D}" destId="{253308A7-15BF-4D5C-AE13-BE486683323E}" srcOrd="0" destOrd="0" presId="urn:microsoft.com/office/officeart/2005/8/layout/bList2"/>
    <dgm:cxn modelId="{734D5280-C224-4B9B-B21B-8654CB1E7929}" type="presOf" srcId="{D504C69E-8755-446A-81F2-DD218FEED201}" destId="{7C749A18-7B90-4082-96D0-C5DDDEB793C2}" srcOrd="0" destOrd="0" presId="urn:microsoft.com/office/officeart/2005/8/layout/bList2"/>
    <dgm:cxn modelId="{81929B88-9343-4444-9114-4E2B9FE7AB16}" type="presOf" srcId="{B1E688A3-1D91-46E2-98DA-090CD80E0B05}" destId="{0E53D2EC-C8D0-4E98-9778-BCE5ABD8E21F}" srcOrd="0" destOrd="0" presId="urn:microsoft.com/office/officeart/2005/8/layout/bList2"/>
    <dgm:cxn modelId="{18A90C8A-EDE9-4E26-8701-7B0511F533F7}" srcId="{0BC1331C-2E75-4ECD-A678-9A30C9D909E2}" destId="{46EDBB8C-A27B-47FB-90FF-ADE593F7DAB5}" srcOrd="0" destOrd="0" parTransId="{BBE6F662-B7F6-4040-991A-49745BEB0D95}" sibTransId="{B2155D58-6E30-4E98-A5AB-FFE24B859D08}"/>
    <dgm:cxn modelId="{7B1E1D91-FFA2-4356-95A9-01A0B67E4DEF}" srcId="{46EDBB8C-A27B-47FB-90FF-ADE593F7DAB5}" destId="{59B35BAC-6541-496A-B398-AEC339AB06D1}" srcOrd="1" destOrd="0" parTransId="{D583B6A4-C96F-49B1-A955-6E1F0A785941}" sibTransId="{A709E061-70C9-4F24-B50A-88A167C7EED0}"/>
    <dgm:cxn modelId="{7D0B57A4-3D37-4093-87D6-A7602CA14420}" srcId="{0BC1331C-2E75-4ECD-A678-9A30C9D909E2}" destId="{5E3C5D30-1164-4AC0-8450-45FD4DFA6036}" srcOrd="2" destOrd="0" parTransId="{67FE326E-ECFA-4CFB-B81F-42CC029AEC68}" sibTransId="{D504C69E-8755-446A-81F2-DD218FEED201}"/>
    <dgm:cxn modelId="{6BB35CA5-55E0-4AAB-9760-0A8B67FFF1F0}" srcId="{FFDA63B7-22E9-4E86-A470-5473E9E0EDE5}" destId="{87F92335-1A1E-4553-A280-523B7A65C46B}" srcOrd="0" destOrd="0" parTransId="{AB9DE57F-688D-4871-A35D-015B5AB2243B}" sibTransId="{8488F2EE-AD76-46C4-81BA-D133B72F7329}"/>
    <dgm:cxn modelId="{788FDBA5-9E41-45DB-B7E2-FA03E9E83DD6}" type="presOf" srcId="{46EDBB8C-A27B-47FB-90FF-ADE593F7DAB5}" destId="{38EF504A-198C-483D-A6FB-7F0047CABE75}" srcOrd="0" destOrd="0" presId="urn:microsoft.com/office/officeart/2005/8/layout/bList2"/>
    <dgm:cxn modelId="{3CE4E3A8-9E5E-4D10-99A0-CA43ABC938CB}" type="presOf" srcId="{FFDA63B7-22E9-4E86-A470-5473E9E0EDE5}" destId="{8344EBE2-279A-4601-B785-4C661DD4CC72}" srcOrd="0" destOrd="0" presId="urn:microsoft.com/office/officeart/2005/8/layout/bList2"/>
    <dgm:cxn modelId="{673363AA-8361-4D9B-9A62-D19A330426FF}" type="presOf" srcId="{B2155D58-6E30-4E98-A5AB-FFE24B859D08}" destId="{A742185D-6E01-49AF-9F7D-6AA94F1B18B2}" srcOrd="0" destOrd="0" presId="urn:microsoft.com/office/officeart/2005/8/layout/bList2"/>
    <dgm:cxn modelId="{C1BAABB9-DAF4-4246-B71F-E635EBEAB6E3}" type="presOf" srcId="{5FC2860F-A9EA-4CD5-8A0E-5ADA41E2322B}" destId="{8558DD11-2F7B-4E20-9DB7-3312625FD4AA}" srcOrd="0" destOrd="0" presId="urn:microsoft.com/office/officeart/2005/8/layout/bList2"/>
    <dgm:cxn modelId="{DC3C53BA-8FDC-4D4C-866F-E1F85DCDE14A}" type="presOf" srcId="{CE8C308E-0D8B-4951-B8B3-D3B4EBB1CC16}" destId="{AD000950-DC72-4F1A-87CA-5BB964166A3E}" srcOrd="0" destOrd="0" presId="urn:microsoft.com/office/officeart/2005/8/layout/bList2"/>
    <dgm:cxn modelId="{EFAA91D3-7546-4E1F-841C-B1EA9486E903}" srcId="{46EDBB8C-A27B-47FB-90FF-ADE593F7DAB5}" destId="{9B78ADB5-DDFD-4B1E-9A95-944FC525AA3D}" srcOrd="0" destOrd="0" parTransId="{B0E73393-0328-4A94-AFCB-5BE17549BFF6}" sibTransId="{5D80EAA9-B20E-454C-9171-ECEE4645CA6E}"/>
    <dgm:cxn modelId="{26280BD4-3CF0-4C90-BB54-918183E5FCBD}" type="presOf" srcId="{631F5C17-A4E4-452B-A3AE-DA06C6CFF430}" destId="{9CBB52C1-F80C-4244-88FA-AF2234741ECE}" srcOrd="0" destOrd="0" presId="urn:microsoft.com/office/officeart/2005/8/layout/bList2"/>
    <dgm:cxn modelId="{0F4982D7-D194-4F26-800A-0A8CD19BAD51}" type="presOf" srcId="{27408B03-5CDB-431A-A488-CD06E205F6A0}" destId="{ACB0BED8-2076-4144-9980-2064E4912645}" srcOrd="0" destOrd="0" presId="urn:microsoft.com/office/officeart/2005/8/layout/bList2"/>
    <dgm:cxn modelId="{4EFCE8DF-2398-4913-98A8-E5CA76023E40}" type="presOf" srcId="{B1E688A3-1D91-46E2-98DA-090CD80E0B05}" destId="{9BFF9B5D-8D98-40C4-98D0-6D3BA9A85B92}" srcOrd="1" destOrd="0" presId="urn:microsoft.com/office/officeart/2005/8/layout/bList2"/>
    <dgm:cxn modelId="{3A3301E0-563E-46BE-9D2E-E2D68BDF5EFE}" srcId="{0BC1331C-2E75-4ECD-A678-9A30C9D909E2}" destId="{B1E688A3-1D91-46E2-98DA-090CD80E0B05}" srcOrd="1" destOrd="0" parTransId="{0322156C-50F1-4004-839A-5137421896A7}" sibTransId="{631F5C17-A4E4-452B-A3AE-DA06C6CFF430}"/>
    <dgm:cxn modelId="{8C5A7FF2-CDC4-45B6-9B1A-5E2D08431483}" type="presOf" srcId="{FFDA63B7-22E9-4E86-A470-5473E9E0EDE5}" destId="{7F3FC3A3-4744-4D86-9E94-84D86B4B436D}" srcOrd="1" destOrd="0" presId="urn:microsoft.com/office/officeart/2005/8/layout/bList2"/>
    <dgm:cxn modelId="{ADCECC1D-615D-4D12-98B5-E8D56C7E8172}" type="presParOf" srcId="{13D93561-C416-4711-B0ED-7AE9D39C63A6}" destId="{8372EF95-3681-4B0B-BD6B-FF2CEE206022}" srcOrd="0" destOrd="0" presId="urn:microsoft.com/office/officeart/2005/8/layout/bList2"/>
    <dgm:cxn modelId="{7B1E869E-B855-4D02-8603-ECBE53D7A4D2}" type="presParOf" srcId="{8372EF95-3681-4B0B-BD6B-FF2CEE206022}" destId="{253308A7-15BF-4D5C-AE13-BE486683323E}" srcOrd="0" destOrd="0" presId="urn:microsoft.com/office/officeart/2005/8/layout/bList2"/>
    <dgm:cxn modelId="{489A743F-6DFA-426C-B338-6E7B39F657D7}" type="presParOf" srcId="{8372EF95-3681-4B0B-BD6B-FF2CEE206022}" destId="{38EF504A-198C-483D-A6FB-7F0047CABE75}" srcOrd="1" destOrd="0" presId="urn:microsoft.com/office/officeart/2005/8/layout/bList2"/>
    <dgm:cxn modelId="{280E2483-115F-4A2F-8492-97B2666E74E9}" type="presParOf" srcId="{8372EF95-3681-4B0B-BD6B-FF2CEE206022}" destId="{76EAAF2D-0E09-420C-B02A-1EEAC31D24D2}" srcOrd="2" destOrd="0" presId="urn:microsoft.com/office/officeart/2005/8/layout/bList2"/>
    <dgm:cxn modelId="{880CC5E4-8C30-40F0-BA24-88DDA6B7EE53}" type="presParOf" srcId="{8372EF95-3681-4B0B-BD6B-FF2CEE206022}" destId="{0E14FB86-E707-4C3F-816D-CACC3BC1831F}" srcOrd="3" destOrd="0" presId="urn:microsoft.com/office/officeart/2005/8/layout/bList2"/>
    <dgm:cxn modelId="{921408C8-933F-41B1-93C9-9B5808216588}" type="presParOf" srcId="{13D93561-C416-4711-B0ED-7AE9D39C63A6}" destId="{A742185D-6E01-49AF-9F7D-6AA94F1B18B2}" srcOrd="1" destOrd="0" presId="urn:microsoft.com/office/officeart/2005/8/layout/bList2"/>
    <dgm:cxn modelId="{39524364-C6EC-487C-96C6-916E061030E8}" type="presParOf" srcId="{13D93561-C416-4711-B0ED-7AE9D39C63A6}" destId="{05AB36A4-8CCE-4617-82B7-4DBE85158236}" srcOrd="2" destOrd="0" presId="urn:microsoft.com/office/officeart/2005/8/layout/bList2"/>
    <dgm:cxn modelId="{9686AE6F-03A5-4A2B-BF9F-0A39B1D9B49F}" type="presParOf" srcId="{05AB36A4-8CCE-4617-82B7-4DBE85158236}" destId="{1E6A4418-E737-4015-B45D-CA4F9CC787CE}" srcOrd="0" destOrd="0" presId="urn:microsoft.com/office/officeart/2005/8/layout/bList2"/>
    <dgm:cxn modelId="{C565E20F-74C2-44E4-84EB-F0B3CFC13D0F}" type="presParOf" srcId="{05AB36A4-8CCE-4617-82B7-4DBE85158236}" destId="{0E53D2EC-C8D0-4E98-9778-BCE5ABD8E21F}" srcOrd="1" destOrd="0" presId="urn:microsoft.com/office/officeart/2005/8/layout/bList2"/>
    <dgm:cxn modelId="{8E4A614F-C1DD-4461-A7A8-2C65A8648C2B}" type="presParOf" srcId="{05AB36A4-8CCE-4617-82B7-4DBE85158236}" destId="{9BFF9B5D-8D98-40C4-98D0-6D3BA9A85B92}" srcOrd="2" destOrd="0" presId="urn:microsoft.com/office/officeart/2005/8/layout/bList2"/>
    <dgm:cxn modelId="{0DE9551E-C944-4223-BF16-0BA2A4811C4A}" type="presParOf" srcId="{05AB36A4-8CCE-4617-82B7-4DBE85158236}" destId="{73275AFD-0A15-4318-9A06-BCF1446E5C6E}" srcOrd="3" destOrd="0" presId="urn:microsoft.com/office/officeart/2005/8/layout/bList2"/>
    <dgm:cxn modelId="{D14E7944-11EE-4068-856F-6059E7F21696}" type="presParOf" srcId="{13D93561-C416-4711-B0ED-7AE9D39C63A6}" destId="{9CBB52C1-F80C-4244-88FA-AF2234741ECE}" srcOrd="3" destOrd="0" presId="urn:microsoft.com/office/officeart/2005/8/layout/bList2"/>
    <dgm:cxn modelId="{03FD336A-E92F-4E0D-A822-4DA2E7FAEA12}" type="presParOf" srcId="{13D93561-C416-4711-B0ED-7AE9D39C63A6}" destId="{7EA37662-AF89-476F-9249-A00E75761E74}" srcOrd="4" destOrd="0" presId="urn:microsoft.com/office/officeart/2005/8/layout/bList2"/>
    <dgm:cxn modelId="{C818C6C7-1AC4-44C6-8203-1F119FD3E04D}" type="presParOf" srcId="{7EA37662-AF89-476F-9249-A00E75761E74}" destId="{AD000950-DC72-4F1A-87CA-5BB964166A3E}" srcOrd="0" destOrd="0" presId="urn:microsoft.com/office/officeart/2005/8/layout/bList2"/>
    <dgm:cxn modelId="{11BE027E-3571-43E0-B75E-023D0BEB3220}" type="presParOf" srcId="{7EA37662-AF89-476F-9249-A00E75761E74}" destId="{6EB56C3C-F079-48BC-A1E1-E08DB221DF3C}" srcOrd="1" destOrd="0" presId="urn:microsoft.com/office/officeart/2005/8/layout/bList2"/>
    <dgm:cxn modelId="{2769D0A2-7DD6-4D7C-9CA7-47F8ECB239C6}" type="presParOf" srcId="{7EA37662-AF89-476F-9249-A00E75761E74}" destId="{25479661-88D4-4F3C-AC4B-89408DE8A203}" srcOrd="2" destOrd="0" presId="urn:microsoft.com/office/officeart/2005/8/layout/bList2"/>
    <dgm:cxn modelId="{45D61947-DD21-4A6B-8BE7-E8DFDD6B705C}" type="presParOf" srcId="{7EA37662-AF89-476F-9249-A00E75761E74}" destId="{B15F6E00-4F30-4E06-B10D-D7FFCAA7B142}" srcOrd="3" destOrd="0" presId="urn:microsoft.com/office/officeart/2005/8/layout/bList2"/>
    <dgm:cxn modelId="{57A85085-A3CA-4955-9852-FDD1F4305087}" type="presParOf" srcId="{13D93561-C416-4711-B0ED-7AE9D39C63A6}" destId="{7C749A18-7B90-4082-96D0-C5DDDEB793C2}" srcOrd="5" destOrd="0" presId="urn:microsoft.com/office/officeart/2005/8/layout/bList2"/>
    <dgm:cxn modelId="{D03CBF6B-6FEC-462F-8922-0B4CB6D88A87}" type="presParOf" srcId="{13D93561-C416-4711-B0ED-7AE9D39C63A6}" destId="{71FE93AE-4CDA-408B-B9D8-384A669E2A84}" srcOrd="6" destOrd="0" presId="urn:microsoft.com/office/officeart/2005/8/layout/bList2"/>
    <dgm:cxn modelId="{06D9C63C-1900-443D-B0BA-66DEA18632B3}" type="presParOf" srcId="{71FE93AE-4CDA-408B-B9D8-384A669E2A84}" destId="{4A512D6E-4270-429B-9395-1B5368493A45}" srcOrd="0" destOrd="0" presId="urn:microsoft.com/office/officeart/2005/8/layout/bList2"/>
    <dgm:cxn modelId="{671E3284-24C6-47B0-9894-069994CC1A67}" type="presParOf" srcId="{71FE93AE-4CDA-408B-B9D8-384A669E2A84}" destId="{ACB0BED8-2076-4144-9980-2064E4912645}" srcOrd="1" destOrd="0" presId="urn:microsoft.com/office/officeart/2005/8/layout/bList2"/>
    <dgm:cxn modelId="{924E22C9-E547-4A45-98A6-3C84B30F2EB4}" type="presParOf" srcId="{71FE93AE-4CDA-408B-B9D8-384A669E2A84}" destId="{A6051F57-1E9D-43AB-9317-4E946A356B54}" srcOrd="2" destOrd="0" presId="urn:microsoft.com/office/officeart/2005/8/layout/bList2"/>
    <dgm:cxn modelId="{3328A0AC-4E44-467E-B6FC-243E9F4EB498}" type="presParOf" srcId="{71FE93AE-4CDA-408B-B9D8-384A669E2A84}" destId="{BE219F52-4BE3-4008-ABC8-6D0C1D246A30}" srcOrd="3" destOrd="0" presId="urn:microsoft.com/office/officeart/2005/8/layout/bList2"/>
    <dgm:cxn modelId="{C966B64B-A113-420C-993A-A97BBE1FDCCB}" type="presParOf" srcId="{13D93561-C416-4711-B0ED-7AE9D39C63A6}" destId="{8558DD11-2F7B-4E20-9DB7-3312625FD4AA}" srcOrd="7" destOrd="0" presId="urn:microsoft.com/office/officeart/2005/8/layout/bList2"/>
    <dgm:cxn modelId="{028D760E-976F-4E7A-B5E3-8AC341F239D7}" type="presParOf" srcId="{13D93561-C416-4711-B0ED-7AE9D39C63A6}" destId="{D3C8D7AF-F1E3-4DA5-BBF7-549B8B26B8E0}" srcOrd="8" destOrd="0" presId="urn:microsoft.com/office/officeart/2005/8/layout/bList2"/>
    <dgm:cxn modelId="{3E1A9D47-0B9F-49FE-AD9B-0B7EC77BADD5}" type="presParOf" srcId="{D3C8D7AF-F1E3-4DA5-BBF7-549B8B26B8E0}" destId="{54A8A90F-0435-4F39-9923-2A38871C36BF}" srcOrd="0" destOrd="0" presId="urn:microsoft.com/office/officeart/2005/8/layout/bList2"/>
    <dgm:cxn modelId="{E7A0FBDC-871F-4D49-9EFA-A5C03D59D952}" type="presParOf" srcId="{D3C8D7AF-F1E3-4DA5-BBF7-549B8B26B8E0}" destId="{8344EBE2-279A-4601-B785-4C661DD4CC72}" srcOrd="1" destOrd="0" presId="urn:microsoft.com/office/officeart/2005/8/layout/bList2"/>
    <dgm:cxn modelId="{71261741-E3E7-4642-A0C2-64C0ABC0E299}" type="presParOf" srcId="{D3C8D7AF-F1E3-4DA5-BBF7-549B8B26B8E0}" destId="{7F3FC3A3-4744-4D86-9E94-84D86B4B436D}" srcOrd="2" destOrd="0" presId="urn:microsoft.com/office/officeart/2005/8/layout/bList2"/>
    <dgm:cxn modelId="{AE86E5CA-6A08-443B-9C83-A5E3A80AED61}" type="presParOf" srcId="{D3C8D7AF-F1E3-4DA5-BBF7-549B8B26B8E0}" destId="{E597C7E3-1725-4D64-873A-658B948DFB79}"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BF2BD1A-F9BA-4FE5-95A3-2FD765A75B05}"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617C9769-55B6-428E-9599-DFE3FB221A31}">
      <dgm:prSet custT="1"/>
      <dgm:spPr/>
      <dgm:t>
        <a:bodyPr/>
        <a:lstStyle/>
        <a:p>
          <a:r>
            <a:rPr lang="en-US" sz="1400"/>
            <a:t>DL Retirals Team - </a:t>
          </a:r>
          <a:r>
            <a:rPr lang="en-IN" sz="1400">
              <a:hlinkClick xmlns:r="http://schemas.openxmlformats.org/officeDocument/2006/relationships" r:id="rId1"/>
            </a:rPr>
            <a:t>retiralshelpdesk.in@neocasemail.com</a:t>
          </a:r>
          <a:endParaRPr lang="en-US" sz="1400"/>
        </a:p>
      </dgm:t>
    </dgm:pt>
    <dgm:pt modelId="{502F3C9B-A6B5-4B7D-B414-A778F0709329}" type="parTrans" cxnId="{10C8E4FA-1D74-4D54-8937-59F057E6AD28}">
      <dgm:prSet/>
      <dgm:spPr/>
      <dgm:t>
        <a:bodyPr/>
        <a:lstStyle/>
        <a:p>
          <a:endParaRPr lang="en-US" sz="2000"/>
        </a:p>
      </dgm:t>
    </dgm:pt>
    <dgm:pt modelId="{0C121CC3-4C1F-4EFB-AEB2-391486D0A27B}" type="sibTrans" cxnId="{10C8E4FA-1D74-4D54-8937-59F057E6AD28}">
      <dgm:prSet/>
      <dgm:spPr/>
      <dgm:t>
        <a:bodyPr/>
        <a:lstStyle/>
        <a:p>
          <a:endParaRPr lang="en-US" sz="2000"/>
        </a:p>
      </dgm:t>
    </dgm:pt>
    <dgm:pt modelId="{A0C01309-B1FC-4070-92D3-496A1BABEAC0}">
      <dgm:prSet custT="1"/>
      <dgm:spPr/>
      <dgm:t>
        <a:bodyPr/>
        <a:lstStyle/>
        <a:p>
          <a:pPr algn="just"/>
          <a:r>
            <a:rPr lang="en-US" sz="1400" dirty="0"/>
            <a:t>Please mention your GLOBAL ID &amp; PF Member ID/UAN while communicating with RETIRALS team, it would be helpful for us to retrieve your data faster.</a:t>
          </a:r>
        </a:p>
      </dgm:t>
    </dgm:pt>
    <dgm:pt modelId="{B350F1CE-9B87-4FFC-A951-6D93C1B62C03}" type="parTrans" cxnId="{24A0A9B0-A4F1-41B2-A461-026B4E3AC35A}">
      <dgm:prSet/>
      <dgm:spPr/>
      <dgm:t>
        <a:bodyPr/>
        <a:lstStyle/>
        <a:p>
          <a:endParaRPr lang="en-US" sz="2000"/>
        </a:p>
      </dgm:t>
    </dgm:pt>
    <dgm:pt modelId="{9A1F6590-1296-43C2-97C5-015C76138461}" type="sibTrans" cxnId="{24A0A9B0-A4F1-41B2-A461-026B4E3AC35A}">
      <dgm:prSet/>
      <dgm:spPr/>
      <dgm:t>
        <a:bodyPr/>
        <a:lstStyle/>
        <a:p>
          <a:endParaRPr lang="en-US" sz="2000"/>
        </a:p>
      </dgm:t>
    </dgm:pt>
    <dgm:pt modelId="{4CFB3561-E713-45DF-AA18-2B5CD9E503D2}">
      <dgm:prSet custT="1"/>
      <dgm:spPr/>
      <dgm:t>
        <a:bodyPr/>
        <a:lstStyle/>
        <a:p>
          <a:r>
            <a:rPr lang="en-US" sz="1400" dirty="0"/>
            <a:t>Responses turnaround time: 3 Business Days </a:t>
          </a:r>
        </a:p>
      </dgm:t>
    </dgm:pt>
    <dgm:pt modelId="{EA67DC8B-EFD2-433A-A4C1-EBE13DA74DC9}" type="parTrans" cxnId="{30060EF1-708F-4DA0-A542-16E6F1B31C84}">
      <dgm:prSet/>
      <dgm:spPr/>
      <dgm:t>
        <a:bodyPr/>
        <a:lstStyle/>
        <a:p>
          <a:endParaRPr lang="en-US" sz="2000"/>
        </a:p>
      </dgm:t>
    </dgm:pt>
    <dgm:pt modelId="{6134AEB2-BBD3-4621-8AAE-BF2F4961EF0E}" type="sibTrans" cxnId="{30060EF1-708F-4DA0-A542-16E6F1B31C84}">
      <dgm:prSet/>
      <dgm:spPr/>
      <dgm:t>
        <a:bodyPr/>
        <a:lstStyle/>
        <a:p>
          <a:endParaRPr lang="en-US" sz="2000"/>
        </a:p>
      </dgm:t>
    </dgm:pt>
    <dgm:pt modelId="{B74C0174-7B61-4B23-84C6-8156378C697B}">
      <dgm:prSet custT="1"/>
      <dgm:spPr/>
      <dgm:t>
        <a:bodyPr/>
        <a:lstStyle/>
        <a:p>
          <a:pPr algn="just"/>
          <a:r>
            <a:rPr lang="en-US" sz="1400" dirty="0"/>
            <a:t>Do not change subject line &amp; request you to wait for the resolution in order to avoid reminders on the same query.</a:t>
          </a:r>
          <a:br>
            <a:rPr lang="en-US" sz="1400" dirty="0"/>
          </a:br>
          <a:endParaRPr lang="en-US" sz="1400" dirty="0"/>
        </a:p>
      </dgm:t>
    </dgm:pt>
    <dgm:pt modelId="{C14E67B4-1B53-4AA1-8126-9EB50009145D}" type="parTrans" cxnId="{E1F10470-148C-446E-BBA7-DEE5C167EF81}">
      <dgm:prSet/>
      <dgm:spPr/>
      <dgm:t>
        <a:bodyPr/>
        <a:lstStyle/>
        <a:p>
          <a:endParaRPr lang="en-US" sz="2000"/>
        </a:p>
      </dgm:t>
    </dgm:pt>
    <dgm:pt modelId="{A534CE27-7B42-4AD3-BD1F-0FA47E2CC49F}" type="sibTrans" cxnId="{E1F10470-148C-446E-BBA7-DEE5C167EF81}">
      <dgm:prSet/>
      <dgm:spPr/>
      <dgm:t>
        <a:bodyPr/>
        <a:lstStyle/>
        <a:p>
          <a:endParaRPr lang="en-US" sz="2000"/>
        </a:p>
      </dgm:t>
    </dgm:pt>
    <dgm:pt modelId="{64C5D8EB-13E4-46F3-AF11-08277FEED8B2}" type="pres">
      <dgm:prSet presAssocID="{3BF2BD1A-F9BA-4FE5-95A3-2FD765A75B05}" presName="root" presStyleCnt="0">
        <dgm:presLayoutVars>
          <dgm:dir/>
          <dgm:resizeHandles val="exact"/>
        </dgm:presLayoutVars>
      </dgm:prSet>
      <dgm:spPr/>
    </dgm:pt>
    <dgm:pt modelId="{4418CDFE-6F2F-432F-A89E-C415426FD7DD}" type="pres">
      <dgm:prSet presAssocID="{3BF2BD1A-F9BA-4FE5-95A3-2FD765A75B05}" presName="container" presStyleCnt="0">
        <dgm:presLayoutVars>
          <dgm:dir/>
          <dgm:resizeHandles val="exact"/>
        </dgm:presLayoutVars>
      </dgm:prSet>
      <dgm:spPr/>
    </dgm:pt>
    <dgm:pt modelId="{D808FCB1-3E10-44C9-8E16-BC2068F92B90}" type="pres">
      <dgm:prSet presAssocID="{617C9769-55B6-428E-9599-DFE3FB221A31}" presName="compNode" presStyleCnt="0"/>
      <dgm:spPr/>
    </dgm:pt>
    <dgm:pt modelId="{63C83137-B753-4083-B928-56B6B64ABB69}" type="pres">
      <dgm:prSet presAssocID="{617C9769-55B6-428E-9599-DFE3FB221A31}" presName="iconBgRect" presStyleLbl="bgShp" presStyleIdx="0" presStyleCnt="4"/>
      <dgm:spPr/>
    </dgm:pt>
    <dgm:pt modelId="{AEB9E932-20E5-4B58-A94C-202801E94587}" type="pres">
      <dgm:prSet presAssocID="{617C9769-55B6-428E-9599-DFE3FB221A31}" presName="iconRect" presStyleLbl="node1" presStyleIdx="0" presStyleCnt="4"/>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Email"/>
        </a:ext>
      </dgm:extLst>
    </dgm:pt>
    <dgm:pt modelId="{01122B8E-F418-44CE-946B-E66CF6A21974}" type="pres">
      <dgm:prSet presAssocID="{617C9769-55B6-428E-9599-DFE3FB221A31}" presName="spaceRect" presStyleCnt="0"/>
      <dgm:spPr/>
    </dgm:pt>
    <dgm:pt modelId="{BD7D9CAF-DDBB-4AD4-A2B2-2949030458EC}" type="pres">
      <dgm:prSet presAssocID="{617C9769-55B6-428E-9599-DFE3FB221A31}" presName="textRect" presStyleLbl="revTx" presStyleIdx="0" presStyleCnt="4">
        <dgm:presLayoutVars>
          <dgm:chMax val="1"/>
          <dgm:chPref val="1"/>
        </dgm:presLayoutVars>
      </dgm:prSet>
      <dgm:spPr/>
    </dgm:pt>
    <dgm:pt modelId="{96358550-5016-4938-89C7-0BCA2126F3F9}" type="pres">
      <dgm:prSet presAssocID="{0C121CC3-4C1F-4EFB-AEB2-391486D0A27B}" presName="sibTrans" presStyleLbl="sibTrans2D1" presStyleIdx="0" presStyleCnt="0"/>
      <dgm:spPr/>
    </dgm:pt>
    <dgm:pt modelId="{6AF0C324-A70A-4CD3-8CF3-56E23AED1F63}" type="pres">
      <dgm:prSet presAssocID="{A0C01309-B1FC-4070-92D3-496A1BABEAC0}" presName="compNode" presStyleCnt="0"/>
      <dgm:spPr/>
    </dgm:pt>
    <dgm:pt modelId="{78A922F0-E25D-4AB3-95E1-028EFF494D23}" type="pres">
      <dgm:prSet presAssocID="{A0C01309-B1FC-4070-92D3-496A1BABEAC0}" presName="iconBgRect" presStyleLbl="bgShp" presStyleIdx="1" presStyleCnt="4"/>
      <dgm:spPr/>
    </dgm:pt>
    <dgm:pt modelId="{573EC277-06DB-409B-BFFD-426B61457455}" type="pres">
      <dgm:prSet presAssocID="{A0C01309-B1FC-4070-92D3-496A1BABEAC0}" presName="iconRect" presStyleLbl="node1" presStyleIdx="1" presStyleCnt="4"/>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Employee Badge"/>
        </a:ext>
      </dgm:extLst>
    </dgm:pt>
    <dgm:pt modelId="{25F5D085-DEEA-4EBB-81B2-98EE86E68FBB}" type="pres">
      <dgm:prSet presAssocID="{A0C01309-B1FC-4070-92D3-496A1BABEAC0}" presName="spaceRect" presStyleCnt="0"/>
      <dgm:spPr/>
    </dgm:pt>
    <dgm:pt modelId="{FA40C36E-9259-4810-A748-13A8EB9D4C30}" type="pres">
      <dgm:prSet presAssocID="{A0C01309-B1FC-4070-92D3-496A1BABEAC0}" presName="textRect" presStyleLbl="revTx" presStyleIdx="1" presStyleCnt="4">
        <dgm:presLayoutVars>
          <dgm:chMax val="1"/>
          <dgm:chPref val="1"/>
        </dgm:presLayoutVars>
      </dgm:prSet>
      <dgm:spPr/>
    </dgm:pt>
    <dgm:pt modelId="{6338A364-D443-4108-AD12-2AC44A9B5062}" type="pres">
      <dgm:prSet presAssocID="{9A1F6590-1296-43C2-97C5-015C76138461}" presName="sibTrans" presStyleLbl="sibTrans2D1" presStyleIdx="0" presStyleCnt="0"/>
      <dgm:spPr/>
    </dgm:pt>
    <dgm:pt modelId="{266460DB-8868-421C-9742-2B8EE0EA538F}" type="pres">
      <dgm:prSet presAssocID="{4CFB3561-E713-45DF-AA18-2B5CD9E503D2}" presName="compNode" presStyleCnt="0"/>
      <dgm:spPr/>
    </dgm:pt>
    <dgm:pt modelId="{13DD35A9-DA57-4FB6-922C-FA542624A585}" type="pres">
      <dgm:prSet presAssocID="{4CFB3561-E713-45DF-AA18-2B5CD9E503D2}" presName="iconBgRect" presStyleLbl="bgShp" presStyleIdx="2" presStyleCnt="4"/>
      <dgm:spPr/>
    </dgm:pt>
    <dgm:pt modelId="{D5E1C57A-64E5-47BD-A581-1C60059F214C}" type="pres">
      <dgm:prSet presAssocID="{4CFB3561-E713-45DF-AA18-2B5CD9E503D2}" presName="iconRect" presStyleLbl="node1" presStyleIdx="2" presStyleCnt="4"/>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Stopwatch"/>
        </a:ext>
      </dgm:extLst>
    </dgm:pt>
    <dgm:pt modelId="{66B8C003-3E91-49C0-8B21-9CA5972CB788}" type="pres">
      <dgm:prSet presAssocID="{4CFB3561-E713-45DF-AA18-2B5CD9E503D2}" presName="spaceRect" presStyleCnt="0"/>
      <dgm:spPr/>
    </dgm:pt>
    <dgm:pt modelId="{B64ABE6A-AF1C-4C59-8F2D-C2AEC052831F}" type="pres">
      <dgm:prSet presAssocID="{4CFB3561-E713-45DF-AA18-2B5CD9E503D2}" presName="textRect" presStyleLbl="revTx" presStyleIdx="2" presStyleCnt="4">
        <dgm:presLayoutVars>
          <dgm:chMax val="1"/>
          <dgm:chPref val="1"/>
        </dgm:presLayoutVars>
      </dgm:prSet>
      <dgm:spPr/>
    </dgm:pt>
    <dgm:pt modelId="{6AA2A6CB-2B76-4C71-97CA-7E53B83F8A8C}" type="pres">
      <dgm:prSet presAssocID="{6134AEB2-BBD3-4621-8AAE-BF2F4961EF0E}" presName="sibTrans" presStyleLbl="sibTrans2D1" presStyleIdx="0" presStyleCnt="0"/>
      <dgm:spPr/>
    </dgm:pt>
    <dgm:pt modelId="{43D80239-B534-4786-8CE3-DF215A88263D}" type="pres">
      <dgm:prSet presAssocID="{B74C0174-7B61-4B23-84C6-8156378C697B}" presName="compNode" presStyleCnt="0"/>
      <dgm:spPr/>
    </dgm:pt>
    <dgm:pt modelId="{24A2D172-C28C-412F-B6DD-5FABEE895D1A}" type="pres">
      <dgm:prSet presAssocID="{B74C0174-7B61-4B23-84C6-8156378C697B}" presName="iconBgRect" presStyleLbl="bgShp" presStyleIdx="3" presStyleCnt="4"/>
      <dgm:spPr/>
    </dgm:pt>
    <dgm:pt modelId="{3FC86ADA-4598-4147-806B-0AE88D71B27B}" type="pres">
      <dgm:prSet presAssocID="{B74C0174-7B61-4B23-84C6-8156378C697B}" presName="iconRect" presStyleLbl="node1" presStyleIdx="3" presStyleCnt="4"/>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dgm:spPr>
      <dgm:extLst>
        <a:ext uri="{E40237B7-FDA0-4F09-8148-C483321AD2D9}">
          <dgm14:cNvPr xmlns:dgm14="http://schemas.microsoft.com/office/drawing/2010/diagram" id="0" name="" descr="Forbidden"/>
        </a:ext>
      </dgm:extLst>
    </dgm:pt>
    <dgm:pt modelId="{473E6FFE-6485-46C2-950F-CEB8FF859E92}" type="pres">
      <dgm:prSet presAssocID="{B74C0174-7B61-4B23-84C6-8156378C697B}" presName="spaceRect" presStyleCnt="0"/>
      <dgm:spPr/>
    </dgm:pt>
    <dgm:pt modelId="{BD7542E5-A407-4E02-9765-3C3DA0208470}" type="pres">
      <dgm:prSet presAssocID="{B74C0174-7B61-4B23-84C6-8156378C697B}" presName="textRect" presStyleLbl="revTx" presStyleIdx="3" presStyleCnt="4">
        <dgm:presLayoutVars>
          <dgm:chMax val="1"/>
          <dgm:chPref val="1"/>
        </dgm:presLayoutVars>
      </dgm:prSet>
      <dgm:spPr/>
    </dgm:pt>
  </dgm:ptLst>
  <dgm:cxnLst>
    <dgm:cxn modelId="{D268F702-8A76-455D-9293-379CC2E334F6}" type="presOf" srcId="{9A1F6590-1296-43C2-97C5-015C76138461}" destId="{6338A364-D443-4108-AD12-2AC44A9B5062}" srcOrd="0" destOrd="0" presId="urn:microsoft.com/office/officeart/2018/2/layout/IconCircleList"/>
    <dgm:cxn modelId="{9DB7793E-FE77-4F6C-A1A9-D5C20B1468CE}" type="presOf" srcId="{4CFB3561-E713-45DF-AA18-2B5CD9E503D2}" destId="{B64ABE6A-AF1C-4C59-8F2D-C2AEC052831F}" srcOrd="0" destOrd="0" presId="urn:microsoft.com/office/officeart/2018/2/layout/IconCircleList"/>
    <dgm:cxn modelId="{59F98A6B-D952-48DA-9B0A-7A3480F3F744}" type="presOf" srcId="{0C121CC3-4C1F-4EFB-AEB2-391486D0A27B}" destId="{96358550-5016-4938-89C7-0BCA2126F3F9}" srcOrd="0" destOrd="0" presId="urn:microsoft.com/office/officeart/2018/2/layout/IconCircleList"/>
    <dgm:cxn modelId="{E1F10470-148C-446E-BBA7-DEE5C167EF81}" srcId="{3BF2BD1A-F9BA-4FE5-95A3-2FD765A75B05}" destId="{B74C0174-7B61-4B23-84C6-8156378C697B}" srcOrd="3" destOrd="0" parTransId="{C14E67B4-1B53-4AA1-8126-9EB50009145D}" sibTransId="{A534CE27-7B42-4AD3-BD1F-0FA47E2CC49F}"/>
    <dgm:cxn modelId="{6D0A8780-48E5-45D4-B572-D67BEA1B5F77}" type="presOf" srcId="{617C9769-55B6-428E-9599-DFE3FB221A31}" destId="{BD7D9CAF-DDBB-4AD4-A2B2-2949030458EC}" srcOrd="0" destOrd="0" presId="urn:microsoft.com/office/officeart/2018/2/layout/IconCircleList"/>
    <dgm:cxn modelId="{24A0A9B0-A4F1-41B2-A461-026B4E3AC35A}" srcId="{3BF2BD1A-F9BA-4FE5-95A3-2FD765A75B05}" destId="{A0C01309-B1FC-4070-92D3-496A1BABEAC0}" srcOrd="1" destOrd="0" parTransId="{B350F1CE-9B87-4FFC-A951-6D93C1B62C03}" sibTransId="{9A1F6590-1296-43C2-97C5-015C76138461}"/>
    <dgm:cxn modelId="{D07629BF-E413-4669-8AD6-46A01883B9A2}" type="presOf" srcId="{3BF2BD1A-F9BA-4FE5-95A3-2FD765A75B05}" destId="{64C5D8EB-13E4-46F3-AF11-08277FEED8B2}" srcOrd="0" destOrd="0" presId="urn:microsoft.com/office/officeart/2018/2/layout/IconCircleList"/>
    <dgm:cxn modelId="{D9C5D9C6-5FF0-4487-9540-D6690127D808}" type="presOf" srcId="{6134AEB2-BBD3-4621-8AAE-BF2F4961EF0E}" destId="{6AA2A6CB-2B76-4C71-97CA-7E53B83F8A8C}" srcOrd="0" destOrd="0" presId="urn:microsoft.com/office/officeart/2018/2/layout/IconCircleList"/>
    <dgm:cxn modelId="{F23EBDDC-3F52-45FD-A719-B8C2C78DA229}" type="presOf" srcId="{B74C0174-7B61-4B23-84C6-8156378C697B}" destId="{BD7542E5-A407-4E02-9765-3C3DA0208470}" srcOrd="0" destOrd="0" presId="urn:microsoft.com/office/officeart/2018/2/layout/IconCircleList"/>
    <dgm:cxn modelId="{30060EF1-708F-4DA0-A542-16E6F1B31C84}" srcId="{3BF2BD1A-F9BA-4FE5-95A3-2FD765A75B05}" destId="{4CFB3561-E713-45DF-AA18-2B5CD9E503D2}" srcOrd="2" destOrd="0" parTransId="{EA67DC8B-EFD2-433A-A4C1-EBE13DA74DC9}" sibTransId="{6134AEB2-BBD3-4621-8AAE-BF2F4961EF0E}"/>
    <dgm:cxn modelId="{C9CBF0F2-E262-4072-A90C-EC7F9C49CA20}" type="presOf" srcId="{A0C01309-B1FC-4070-92D3-496A1BABEAC0}" destId="{FA40C36E-9259-4810-A748-13A8EB9D4C30}" srcOrd="0" destOrd="0" presId="urn:microsoft.com/office/officeart/2018/2/layout/IconCircleList"/>
    <dgm:cxn modelId="{10C8E4FA-1D74-4D54-8937-59F057E6AD28}" srcId="{3BF2BD1A-F9BA-4FE5-95A3-2FD765A75B05}" destId="{617C9769-55B6-428E-9599-DFE3FB221A31}" srcOrd="0" destOrd="0" parTransId="{502F3C9B-A6B5-4B7D-B414-A778F0709329}" sibTransId="{0C121CC3-4C1F-4EFB-AEB2-391486D0A27B}"/>
    <dgm:cxn modelId="{9B404616-C478-4BB3-B57D-BD185D157273}" type="presParOf" srcId="{64C5D8EB-13E4-46F3-AF11-08277FEED8B2}" destId="{4418CDFE-6F2F-432F-A89E-C415426FD7DD}" srcOrd="0" destOrd="0" presId="urn:microsoft.com/office/officeart/2018/2/layout/IconCircleList"/>
    <dgm:cxn modelId="{E5396F1A-4A6C-4E28-9BD9-3574035CA57A}" type="presParOf" srcId="{4418CDFE-6F2F-432F-A89E-C415426FD7DD}" destId="{D808FCB1-3E10-44C9-8E16-BC2068F92B90}" srcOrd="0" destOrd="0" presId="urn:microsoft.com/office/officeart/2018/2/layout/IconCircleList"/>
    <dgm:cxn modelId="{4836084A-47FA-4A7B-A975-424A3A4E6E89}" type="presParOf" srcId="{D808FCB1-3E10-44C9-8E16-BC2068F92B90}" destId="{63C83137-B753-4083-B928-56B6B64ABB69}" srcOrd="0" destOrd="0" presId="urn:microsoft.com/office/officeart/2018/2/layout/IconCircleList"/>
    <dgm:cxn modelId="{98A59D26-5BC5-4681-8E07-6924100BD2E3}" type="presParOf" srcId="{D808FCB1-3E10-44C9-8E16-BC2068F92B90}" destId="{AEB9E932-20E5-4B58-A94C-202801E94587}" srcOrd="1" destOrd="0" presId="urn:microsoft.com/office/officeart/2018/2/layout/IconCircleList"/>
    <dgm:cxn modelId="{AF8847C7-AD7B-4927-9811-2ACB755AED80}" type="presParOf" srcId="{D808FCB1-3E10-44C9-8E16-BC2068F92B90}" destId="{01122B8E-F418-44CE-946B-E66CF6A21974}" srcOrd="2" destOrd="0" presId="urn:microsoft.com/office/officeart/2018/2/layout/IconCircleList"/>
    <dgm:cxn modelId="{515A5194-B5C2-465E-8324-1461FBC071BE}" type="presParOf" srcId="{D808FCB1-3E10-44C9-8E16-BC2068F92B90}" destId="{BD7D9CAF-DDBB-4AD4-A2B2-2949030458EC}" srcOrd="3" destOrd="0" presId="urn:microsoft.com/office/officeart/2018/2/layout/IconCircleList"/>
    <dgm:cxn modelId="{83C8F3AA-A2D2-4DD3-8E6D-1FEDD642C476}" type="presParOf" srcId="{4418CDFE-6F2F-432F-A89E-C415426FD7DD}" destId="{96358550-5016-4938-89C7-0BCA2126F3F9}" srcOrd="1" destOrd="0" presId="urn:microsoft.com/office/officeart/2018/2/layout/IconCircleList"/>
    <dgm:cxn modelId="{65CA1B66-3333-4DDB-AFDF-E1E1F3BC0709}" type="presParOf" srcId="{4418CDFE-6F2F-432F-A89E-C415426FD7DD}" destId="{6AF0C324-A70A-4CD3-8CF3-56E23AED1F63}" srcOrd="2" destOrd="0" presId="urn:microsoft.com/office/officeart/2018/2/layout/IconCircleList"/>
    <dgm:cxn modelId="{7244AE52-10DF-487D-B31B-F8AC98488242}" type="presParOf" srcId="{6AF0C324-A70A-4CD3-8CF3-56E23AED1F63}" destId="{78A922F0-E25D-4AB3-95E1-028EFF494D23}" srcOrd="0" destOrd="0" presId="urn:microsoft.com/office/officeart/2018/2/layout/IconCircleList"/>
    <dgm:cxn modelId="{0282E6E7-CC48-4A68-A17F-374FFAFF5832}" type="presParOf" srcId="{6AF0C324-A70A-4CD3-8CF3-56E23AED1F63}" destId="{573EC277-06DB-409B-BFFD-426B61457455}" srcOrd="1" destOrd="0" presId="urn:microsoft.com/office/officeart/2018/2/layout/IconCircleList"/>
    <dgm:cxn modelId="{911804BE-D4A1-46C7-B869-2DBA72E0F1FC}" type="presParOf" srcId="{6AF0C324-A70A-4CD3-8CF3-56E23AED1F63}" destId="{25F5D085-DEEA-4EBB-81B2-98EE86E68FBB}" srcOrd="2" destOrd="0" presId="urn:microsoft.com/office/officeart/2018/2/layout/IconCircleList"/>
    <dgm:cxn modelId="{49EC402F-E9D4-4DA2-AF4B-242B976B66BA}" type="presParOf" srcId="{6AF0C324-A70A-4CD3-8CF3-56E23AED1F63}" destId="{FA40C36E-9259-4810-A748-13A8EB9D4C30}" srcOrd="3" destOrd="0" presId="urn:microsoft.com/office/officeart/2018/2/layout/IconCircleList"/>
    <dgm:cxn modelId="{ED7EF568-0300-4DE3-A98C-EF52E8625B5D}" type="presParOf" srcId="{4418CDFE-6F2F-432F-A89E-C415426FD7DD}" destId="{6338A364-D443-4108-AD12-2AC44A9B5062}" srcOrd="3" destOrd="0" presId="urn:microsoft.com/office/officeart/2018/2/layout/IconCircleList"/>
    <dgm:cxn modelId="{4DB5CBD4-BF19-4671-BDDB-9A858DFFF3FE}" type="presParOf" srcId="{4418CDFE-6F2F-432F-A89E-C415426FD7DD}" destId="{266460DB-8868-421C-9742-2B8EE0EA538F}" srcOrd="4" destOrd="0" presId="urn:microsoft.com/office/officeart/2018/2/layout/IconCircleList"/>
    <dgm:cxn modelId="{7C89E153-C98C-4503-9E38-71B459E59DBA}" type="presParOf" srcId="{266460DB-8868-421C-9742-2B8EE0EA538F}" destId="{13DD35A9-DA57-4FB6-922C-FA542624A585}" srcOrd="0" destOrd="0" presId="urn:microsoft.com/office/officeart/2018/2/layout/IconCircleList"/>
    <dgm:cxn modelId="{4AB769DA-D738-4CCF-8702-D17E964CD9E9}" type="presParOf" srcId="{266460DB-8868-421C-9742-2B8EE0EA538F}" destId="{D5E1C57A-64E5-47BD-A581-1C60059F214C}" srcOrd="1" destOrd="0" presId="urn:microsoft.com/office/officeart/2018/2/layout/IconCircleList"/>
    <dgm:cxn modelId="{05F06CFD-9C47-4CA3-B403-D8979BBBEA00}" type="presParOf" srcId="{266460DB-8868-421C-9742-2B8EE0EA538F}" destId="{66B8C003-3E91-49C0-8B21-9CA5972CB788}" srcOrd="2" destOrd="0" presId="urn:microsoft.com/office/officeart/2018/2/layout/IconCircleList"/>
    <dgm:cxn modelId="{4944CAA0-65CB-4D78-B439-647896FEA126}" type="presParOf" srcId="{266460DB-8868-421C-9742-2B8EE0EA538F}" destId="{B64ABE6A-AF1C-4C59-8F2D-C2AEC052831F}" srcOrd="3" destOrd="0" presId="urn:microsoft.com/office/officeart/2018/2/layout/IconCircleList"/>
    <dgm:cxn modelId="{69FEE9B5-3DEC-4C29-B536-83A22C5CBA67}" type="presParOf" srcId="{4418CDFE-6F2F-432F-A89E-C415426FD7DD}" destId="{6AA2A6CB-2B76-4C71-97CA-7E53B83F8A8C}" srcOrd="5" destOrd="0" presId="urn:microsoft.com/office/officeart/2018/2/layout/IconCircleList"/>
    <dgm:cxn modelId="{F6C68AE1-269C-4CA3-B245-1DF38EF3A4F9}" type="presParOf" srcId="{4418CDFE-6F2F-432F-A89E-C415426FD7DD}" destId="{43D80239-B534-4786-8CE3-DF215A88263D}" srcOrd="6" destOrd="0" presId="urn:microsoft.com/office/officeart/2018/2/layout/IconCircleList"/>
    <dgm:cxn modelId="{E68035F7-1991-450B-93B6-C8853B1BC90A}" type="presParOf" srcId="{43D80239-B534-4786-8CE3-DF215A88263D}" destId="{24A2D172-C28C-412F-B6DD-5FABEE895D1A}" srcOrd="0" destOrd="0" presId="urn:microsoft.com/office/officeart/2018/2/layout/IconCircleList"/>
    <dgm:cxn modelId="{A5C6F1BD-B751-4DFD-A137-2EC4C822B1B2}" type="presParOf" srcId="{43D80239-B534-4786-8CE3-DF215A88263D}" destId="{3FC86ADA-4598-4147-806B-0AE88D71B27B}" srcOrd="1" destOrd="0" presId="urn:microsoft.com/office/officeart/2018/2/layout/IconCircleList"/>
    <dgm:cxn modelId="{072DD244-3439-4D7E-BC13-BD418AA732DE}" type="presParOf" srcId="{43D80239-B534-4786-8CE3-DF215A88263D}" destId="{473E6FFE-6485-46C2-950F-CEB8FF859E92}" srcOrd="2" destOrd="0" presId="urn:microsoft.com/office/officeart/2018/2/layout/IconCircleList"/>
    <dgm:cxn modelId="{BEC2AF93-6EBF-46D9-B5F3-16893DEDF365}" type="presParOf" srcId="{43D80239-B534-4786-8CE3-DF215A88263D}" destId="{BD7542E5-A407-4E02-9765-3C3DA0208470}"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CFB68-E8EB-412E-9CB2-EB680AF25305}">
      <dsp:nvSpPr>
        <dsp:cNvPr id="0" name=""/>
        <dsp:cNvSpPr/>
      </dsp:nvSpPr>
      <dsp:spPr>
        <a:xfrm>
          <a:off x="0" y="9581"/>
          <a:ext cx="3629558" cy="588848"/>
        </a:xfrm>
        <a:prstGeom prst="roundRect">
          <a:avLst/>
        </a:prstGeom>
        <a:solidFill>
          <a:schemeClr val="accent1">
            <a:lumMod val="75000"/>
            <a:alpha val="9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kern="1200">
              <a:solidFill>
                <a:schemeClr val="bg1"/>
              </a:solidFill>
            </a:rPr>
            <a:t>PROVIDENT FUND</a:t>
          </a:r>
        </a:p>
      </dsp:txBody>
      <dsp:txXfrm>
        <a:off x="28745" y="38326"/>
        <a:ext cx="3572068" cy="531358"/>
      </dsp:txXfrm>
    </dsp:sp>
    <dsp:sp modelId="{1E1432E0-4500-447C-875D-3B00262484C7}">
      <dsp:nvSpPr>
        <dsp:cNvPr id="0" name=""/>
        <dsp:cNvSpPr/>
      </dsp:nvSpPr>
      <dsp:spPr>
        <a:xfrm>
          <a:off x="0" y="598429"/>
          <a:ext cx="3629558" cy="24262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238"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latin typeface="+mn-lt"/>
            </a:rPr>
            <a:t>UAN &amp; BENEFITS</a:t>
          </a:r>
          <a:endParaRPr lang="en-IN" sz="1400" kern="1200" dirty="0">
            <a:solidFill>
              <a:schemeClr val="bg1"/>
            </a:solidFill>
          </a:endParaRPr>
        </a:p>
        <a:p>
          <a:pPr marL="114300" lvl="1" indent="-114300" algn="l" defTabSz="622300">
            <a:lnSpc>
              <a:spcPct val="90000"/>
            </a:lnSpc>
            <a:spcBef>
              <a:spcPct val="0"/>
            </a:spcBef>
            <a:spcAft>
              <a:spcPct val="20000"/>
            </a:spcAft>
            <a:buChar char="•"/>
          </a:pPr>
          <a:r>
            <a:rPr lang="en-IN" sz="1400" kern="1200" dirty="0">
              <a:solidFill>
                <a:schemeClr val="bg1"/>
              </a:solidFill>
              <a:latin typeface="+mn-lt"/>
            </a:rPr>
            <a:t>UAN ACTIVATION</a:t>
          </a:r>
          <a:endParaRPr lang="en-IN" sz="1400" kern="1200" dirty="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latin typeface="+mn-lt"/>
            </a:rPr>
            <a:t>KYC PROCESS</a:t>
          </a:r>
          <a:endParaRPr lang="en-IN" sz="1400" kern="1200" dirty="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latin typeface="+mn-lt"/>
            </a:rPr>
            <a:t>E-NOMINATION UNDER UAN PROFILE</a:t>
          </a: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rPr>
            <a:t>HOW TO CHECK PF BALANCE</a:t>
          </a:r>
        </a:p>
        <a:p>
          <a:pPr marL="114300" lvl="1" indent="-114300" algn="l" defTabSz="622300">
            <a:lnSpc>
              <a:spcPct val="90000"/>
            </a:lnSpc>
            <a:spcBef>
              <a:spcPct val="0"/>
            </a:spcBef>
            <a:spcAft>
              <a:spcPct val="20000"/>
            </a:spcAft>
            <a:buChar char="•"/>
          </a:pPr>
          <a:r>
            <a:rPr lang="en-IN" sz="1400" kern="1200">
              <a:solidFill>
                <a:schemeClr val="bg1"/>
              </a:solidFill>
              <a:latin typeface="+mn-lt"/>
            </a:rPr>
            <a:t>ONLINE CLAIM SERVICES</a:t>
          </a: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dirty="0">
              <a:solidFill>
                <a:schemeClr val="bg1"/>
              </a:solidFill>
              <a:latin typeface="+mn-lt"/>
            </a:rPr>
            <a:t>TRACKING OF CLAIMS</a:t>
          </a:r>
          <a:endParaRPr lang="en-IN" sz="1400" kern="1200" dirty="0">
            <a:solidFill>
              <a:schemeClr val="bg1"/>
            </a:solidFill>
          </a:endParaRPr>
        </a:p>
      </dsp:txBody>
      <dsp:txXfrm>
        <a:off x="0" y="598429"/>
        <a:ext cx="3629558" cy="2426225"/>
      </dsp:txXfrm>
    </dsp:sp>
    <dsp:sp modelId="{0D8715B3-87B2-428F-BEE7-4134996DC499}">
      <dsp:nvSpPr>
        <dsp:cNvPr id="0" name=""/>
        <dsp:cNvSpPr/>
      </dsp:nvSpPr>
      <dsp:spPr>
        <a:xfrm>
          <a:off x="0" y="3024655"/>
          <a:ext cx="3629558" cy="622290"/>
        </a:xfrm>
        <a:prstGeom prst="roundRect">
          <a:avLst/>
        </a:prstGeom>
        <a:solidFill>
          <a:schemeClr val="accent1">
            <a:lumMod val="75000"/>
            <a:alpha val="7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kern="1200">
              <a:solidFill>
                <a:schemeClr val="bg1"/>
              </a:solidFill>
            </a:rPr>
            <a:t>GRATUITY FUND</a:t>
          </a:r>
        </a:p>
      </dsp:txBody>
      <dsp:txXfrm>
        <a:off x="30378" y="3055033"/>
        <a:ext cx="3568802" cy="561534"/>
      </dsp:txXfrm>
    </dsp:sp>
    <dsp:sp modelId="{D3BABA57-8B28-4A0B-B2B7-EC983C5366DE}">
      <dsp:nvSpPr>
        <dsp:cNvPr id="0" name=""/>
        <dsp:cNvSpPr/>
      </dsp:nvSpPr>
      <dsp:spPr>
        <a:xfrm>
          <a:off x="0" y="3646945"/>
          <a:ext cx="3629558"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238"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IN" sz="1400" kern="1200">
            <a:solidFill>
              <a:schemeClr val="bg1"/>
            </a:solidFill>
          </a:endParaRPr>
        </a:p>
        <a:p>
          <a:pPr marL="114300" lvl="1" indent="-114300" algn="l" defTabSz="622300">
            <a:lnSpc>
              <a:spcPct val="90000"/>
            </a:lnSpc>
            <a:spcBef>
              <a:spcPct val="0"/>
            </a:spcBef>
            <a:spcAft>
              <a:spcPct val="20000"/>
            </a:spcAft>
            <a:buChar char="•"/>
          </a:pPr>
          <a:r>
            <a:rPr lang="en-IN" sz="1400" kern="1200">
              <a:solidFill>
                <a:schemeClr val="bg1"/>
              </a:solidFill>
            </a:rPr>
            <a:t>ELIGIBILITY &amp; THE PROCESS FOR GRATUITY FUND</a:t>
          </a:r>
        </a:p>
        <a:p>
          <a:pPr marL="114300" lvl="1" indent="-114300" algn="l" defTabSz="622300">
            <a:lnSpc>
              <a:spcPct val="90000"/>
            </a:lnSpc>
            <a:spcBef>
              <a:spcPct val="0"/>
            </a:spcBef>
            <a:spcAft>
              <a:spcPct val="20000"/>
            </a:spcAft>
            <a:buChar char="•"/>
          </a:pPr>
          <a:endParaRPr lang="en-IN" sz="1400" kern="1200">
            <a:solidFill>
              <a:schemeClr val="bg1"/>
            </a:solidFill>
          </a:endParaRPr>
        </a:p>
      </dsp:txBody>
      <dsp:txXfrm>
        <a:off x="0" y="3646945"/>
        <a:ext cx="3629558" cy="910800"/>
      </dsp:txXfrm>
    </dsp:sp>
    <dsp:sp modelId="{77C79581-63EB-4598-B5C5-C05A3378B6D2}">
      <dsp:nvSpPr>
        <dsp:cNvPr id="0" name=""/>
        <dsp:cNvSpPr/>
      </dsp:nvSpPr>
      <dsp:spPr>
        <a:xfrm>
          <a:off x="0" y="4557745"/>
          <a:ext cx="3629558" cy="555366"/>
        </a:xfrm>
        <a:prstGeom prst="roundRect">
          <a:avLst/>
        </a:prstGeom>
        <a:solidFill>
          <a:schemeClr val="accent1">
            <a:lumMod val="75000"/>
            <a:alpha val="5000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kern="1200" dirty="0">
              <a:solidFill>
                <a:schemeClr val="bg1"/>
              </a:solidFill>
            </a:rPr>
            <a:t>FAQs &amp; CONTACT DETAILS</a:t>
          </a:r>
        </a:p>
      </dsp:txBody>
      <dsp:txXfrm>
        <a:off x="27111" y="4584856"/>
        <a:ext cx="3575336" cy="501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9EEE5-6B24-4F06-A296-4EA66A90F6D5}">
      <dsp:nvSpPr>
        <dsp:cNvPr id="0" name=""/>
        <dsp:cNvSpPr/>
      </dsp:nvSpPr>
      <dsp:spPr>
        <a:xfrm>
          <a:off x="1348"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1</a:t>
          </a:r>
        </a:p>
      </dsp:txBody>
      <dsp:txXfrm>
        <a:off x="1348" y="3384"/>
        <a:ext cx="1694578" cy="677831"/>
      </dsp:txXfrm>
    </dsp:sp>
    <dsp:sp modelId="{A2793502-ED80-4EB2-82C5-6A4F521F4B5B}">
      <dsp:nvSpPr>
        <dsp:cNvPr id="0" name=""/>
        <dsp:cNvSpPr/>
      </dsp:nvSpPr>
      <dsp:spPr>
        <a:xfrm>
          <a:off x="348430"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Visit UAN based Member Portal</a:t>
          </a:r>
        </a:p>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Click on “Activate UAN” under Important Links</a:t>
          </a:r>
          <a:endParaRPr lang="en-US" sz="1200" b="0" kern="1200" cap="none" spc="0" dirty="0">
            <a:ln w="0"/>
            <a:effectLst>
              <a:outerShdw blurRad="38100" dist="19050" dir="2700000" algn="tl" rotWithShape="0">
                <a:schemeClr val="dk1">
                  <a:alpha val="40000"/>
                </a:schemeClr>
              </a:outerShdw>
            </a:effectLst>
            <a:latin typeface="+mn-lt"/>
          </a:endParaRPr>
        </a:p>
      </dsp:txBody>
      <dsp:txXfrm>
        <a:off x="398062" y="730847"/>
        <a:ext cx="1595314" cy="2492736"/>
      </dsp:txXfrm>
    </dsp:sp>
    <dsp:sp modelId="{FB25B362-5BEB-4999-81A2-C189A3EE587A}">
      <dsp:nvSpPr>
        <dsp:cNvPr id="0" name=""/>
        <dsp:cNvSpPr/>
      </dsp:nvSpPr>
      <dsp:spPr>
        <a:xfrm>
          <a:off x="1952819" y="131349"/>
          <a:ext cx="544611" cy="421901"/>
        </a:xfrm>
        <a:prstGeom prst="rightArrow">
          <a:avLst>
            <a:gd name="adj1" fmla="val 60000"/>
            <a:gd name="adj2" fmla="val 50000"/>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cap="none" spc="0">
            <a:ln w="0"/>
            <a:solidFill>
              <a:schemeClr val="tx1"/>
            </a:solidFill>
            <a:effectLst>
              <a:outerShdw blurRad="38100" dist="19050" dir="2700000" algn="tl" rotWithShape="0">
                <a:schemeClr val="dk1">
                  <a:alpha val="40000"/>
                </a:schemeClr>
              </a:outerShdw>
            </a:effectLst>
            <a:latin typeface="+mn-lt"/>
          </a:endParaRPr>
        </a:p>
      </dsp:txBody>
      <dsp:txXfrm>
        <a:off x="1952819" y="215729"/>
        <a:ext cx="418041" cy="253141"/>
      </dsp:txXfrm>
    </dsp:sp>
    <dsp:sp modelId="{81F103F1-5779-4D41-9796-054D395DE0D2}">
      <dsp:nvSpPr>
        <dsp:cNvPr id="0" name=""/>
        <dsp:cNvSpPr/>
      </dsp:nvSpPr>
      <dsp:spPr>
        <a:xfrm>
          <a:off x="2723495"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2</a:t>
          </a:r>
        </a:p>
      </dsp:txBody>
      <dsp:txXfrm>
        <a:off x="2723495" y="3384"/>
        <a:ext cx="1694578" cy="677831"/>
      </dsp:txXfrm>
    </dsp:sp>
    <dsp:sp modelId="{1D1E4DB7-B37F-4840-ADFF-4E4EAFC60A9B}">
      <dsp:nvSpPr>
        <dsp:cNvPr id="0" name=""/>
        <dsp:cNvSpPr/>
      </dsp:nvSpPr>
      <dsp:spPr>
        <a:xfrm>
          <a:off x="3070578"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Member will be directed to next page , where Member needs to enter UAN, Aadhaar Card no., Name, Date of Birth, Mobile No. &amp; the Captcha</a:t>
          </a:r>
        </a:p>
      </dsp:txBody>
      <dsp:txXfrm>
        <a:off x="3120210" y="730847"/>
        <a:ext cx="1595314" cy="2492736"/>
      </dsp:txXfrm>
    </dsp:sp>
    <dsp:sp modelId="{4A5964C4-BDC9-4F48-B5A8-3670F2AB9883}">
      <dsp:nvSpPr>
        <dsp:cNvPr id="0" name=""/>
        <dsp:cNvSpPr/>
      </dsp:nvSpPr>
      <dsp:spPr>
        <a:xfrm>
          <a:off x="4674966" y="131349"/>
          <a:ext cx="544611" cy="421901"/>
        </a:xfrm>
        <a:prstGeom prst="rightArrow">
          <a:avLst>
            <a:gd name="adj1" fmla="val 60000"/>
            <a:gd name="adj2" fmla="val 50000"/>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cap="none" spc="0">
            <a:ln w="0"/>
            <a:solidFill>
              <a:schemeClr val="tx1"/>
            </a:solidFill>
            <a:effectLst>
              <a:outerShdw blurRad="38100" dist="19050" dir="2700000" algn="tl" rotWithShape="0">
                <a:schemeClr val="dk1">
                  <a:alpha val="40000"/>
                </a:schemeClr>
              </a:outerShdw>
            </a:effectLst>
            <a:latin typeface="+mn-lt"/>
          </a:endParaRPr>
        </a:p>
      </dsp:txBody>
      <dsp:txXfrm>
        <a:off x="4674966" y="215729"/>
        <a:ext cx="418041" cy="253141"/>
      </dsp:txXfrm>
    </dsp:sp>
    <dsp:sp modelId="{49C2CB4F-9658-4A04-B539-36C57348A2E2}">
      <dsp:nvSpPr>
        <dsp:cNvPr id="0" name=""/>
        <dsp:cNvSpPr/>
      </dsp:nvSpPr>
      <dsp:spPr>
        <a:xfrm>
          <a:off x="5445642"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3</a:t>
          </a:r>
        </a:p>
      </dsp:txBody>
      <dsp:txXfrm>
        <a:off x="5445642" y="3384"/>
        <a:ext cx="1694578" cy="677831"/>
      </dsp:txXfrm>
    </dsp:sp>
    <dsp:sp modelId="{9DAFAD65-5E8F-4C0F-B098-E20A6C04F162}">
      <dsp:nvSpPr>
        <dsp:cNvPr id="0" name=""/>
        <dsp:cNvSpPr/>
      </dsp:nvSpPr>
      <dsp:spPr>
        <a:xfrm>
          <a:off x="5792725"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dirty="0">
              <a:ln w="0"/>
              <a:effectLst>
                <a:outerShdw blurRad="38100" dist="19050" dir="2700000" algn="tl" rotWithShape="0">
                  <a:schemeClr val="dk1">
                    <a:alpha val="40000"/>
                  </a:schemeClr>
                </a:outerShdw>
              </a:effectLst>
              <a:latin typeface="+mn-lt"/>
            </a:rPr>
            <a:t>Click on the checkbox provided on the screen &amp; then on ‘Get Authorization Pin’, accordingly Pin will be sent to the given Mobile Number of the Member. Enter the Pin &amp;validate it. </a:t>
          </a:r>
        </a:p>
      </dsp:txBody>
      <dsp:txXfrm>
        <a:off x="5842357" y="730847"/>
        <a:ext cx="1595314" cy="2492736"/>
      </dsp:txXfrm>
    </dsp:sp>
    <dsp:sp modelId="{7B4B866C-B1D5-45BD-A612-03A16DBA979F}">
      <dsp:nvSpPr>
        <dsp:cNvPr id="0" name=""/>
        <dsp:cNvSpPr/>
      </dsp:nvSpPr>
      <dsp:spPr>
        <a:xfrm>
          <a:off x="7397113" y="131349"/>
          <a:ext cx="544611" cy="421901"/>
        </a:xfrm>
        <a:prstGeom prst="rightArrow">
          <a:avLst>
            <a:gd name="adj1" fmla="val 60000"/>
            <a:gd name="adj2" fmla="val 50000"/>
          </a:avLst>
        </a:prstGeom>
        <a:gradFill rotWithShape="0">
          <a:gsLst>
            <a:gs pos="0">
              <a:schemeClr val="dk2">
                <a:tint val="60000"/>
                <a:hueOff val="0"/>
                <a:satOff val="0"/>
                <a:lumOff val="0"/>
                <a:alphaOff val="0"/>
                <a:tint val="96000"/>
                <a:lumMod val="100000"/>
              </a:schemeClr>
            </a:gs>
            <a:gs pos="78000">
              <a:schemeClr val="dk2">
                <a:tint val="6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b="0" kern="1200" cap="none" spc="0">
            <a:ln w="0"/>
            <a:solidFill>
              <a:schemeClr val="tx1"/>
            </a:solidFill>
            <a:effectLst>
              <a:outerShdw blurRad="38100" dist="19050" dir="2700000" algn="tl" rotWithShape="0">
                <a:schemeClr val="dk1">
                  <a:alpha val="40000"/>
                </a:schemeClr>
              </a:outerShdw>
            </a:effectLst>
            <a:latin typeface="+mn-lt"/>
          </a:endParaRPr>
        </a:p>
      </dsp:txBody>
      <dsp:txXfrm>
        <a:off x="7397113" y="215729"/>
        <a:ext cx="418041" cy="253141"/>
      </dsp:txXfrm>
    </dsp:sp>
    <dsp:sp modelId="{749F7D48-2812-448C-A7A7-18BC985A2049}">
      <dsp:nvSpPr>
        <dsp:cNvPr id="0" name=""/>
        <dsp:cNvSpPr/>
      </dsp:nvSpPr>
      <dsp:spPr>
        <a:xfrm>
          <a:off x="8167790" y="3384"/>
          <a:ext cx="1694578" cy="1944000"/>
        </a:xfrm>
        <a:prstGeom prst="roundRect">
          <a:avLst>
            <a:gd name="adj" fmla="val 1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0" kern="1200" cap="none" spc="0">
              <a:ln w="0"/>
              <a:effectLst>
                <a:outerShdw blurRad="38100" dist="19050" dir="2700000" algn="tl" rotWithShape="0">
                  <a:schemeClr val="dk1">
                    <a:alpha val="40000"/>
                  </a:schemeClr>
                </a:outerShdw>
              </a:effectLst>
              <a:latin typeface="+mn-lt"/>
            </a:rPr>
            <a:t>4</a:t>
          </a:r>
        </a:p>
      </dsp:txBody>
      <dsp:txXfrm>
        <a:off x="8167790" y="3384"/>
        <a:ext cx="1694578" cy="677831"/>
      </dsp:txXfrm>
    </dsp:sp>
    <dsp:sp modelId="{E12A7C1F-D6A9-4503-885A-012D534E4BE4}">
      <dsp:nvSpPr>
        <dsp:cNvPr id="0" name=""/>
        <dsp:cNvSpPr/>
      </dsp:nvSpPr>
      <dsp:spPr>
        <a:xfrm>
          <a:off x="8514872" y="681215"/>
          <a:ext cx="1694578" cy="2592000"/>
        </a:xfrm>
        <a:prstGeom prst="roundRect">
          <a:avLst>
            <a:gd name="adj" fmla="val 10000"/>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a:outerShdw blurRad="38100" dist="254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b="0" kern="1200" cap="none" spc="0">
              <a:ln w="0"/>
              <a:effectLst>
                <a:outerShdw blurRad="38100" dist="19050" dir="2700000" algn="tl" rotWithShape="0">
                  <a:schemeClr val="dk1">
                    <a:alpha val="40000"/>
                  </a:schemeClr>
                </a:outerShdw>
              </a:effectLst>
              <a:latin typeface="+mn-lt"/>
            </a:rPr>
            <a:t>Click on ‘Activate UAN’ Button. Accordingly, UAN will be activated, Member will receive a password on registered mobile number which will be used for accessing your UAN account.</a:t>
          </a:r>
        </a:p>
      </dsp:txBody>
      <dsp:txXfrm>
        <a:off x="8564504" y="730847"/>
        <a:ext cx="1595314" cy="24927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3BB74F-41D2-4055-BC8D-94299564360C}">
      <dsp:nvSpPr>
        <dsp:cNvPr id="0" name=""/>
        <dsp:cNvSpPr/>
      </dsp:nvSpPr>
      <dsp:spPr>
        <a:xfrm>
          <a:off x="9317502" y="1410587"/>
          <a:ext cx="1717586" cy="1717260"/>
        </a:xfrm>
        <a:prstGeom prst="ellipse">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D6BB1C6-74FE-4F3A-BF7B-57FEB99530EB}">
      <dsp:nvSpPr>
        <dsp:cNvPr id="0" name=""/>
        <dsp:cNvSpPr/>
      </dsp:nvSpPr>
      <dsp:spPr>
        <a:xfrm>
          <a:off x="9375336"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Authorise nomination details through “E-Sign”</a:t>
          </a:r>
        </a:p>
      </dsp:txBody>
      <dsp:txXfrm>
        <a:off x="9604493" y="1696847"/>
        <a:ext cx="1144694" cy="1144739"/>
      </dsp:txXfrm>
    </dsp:sp>
    <dsp:sp modelId="{589DDA9F-0C35-4812-A450-6CAEBC2B113C}">
      <dsp:nvSpPr>
        <dsp:cNvPr id="0" name=""/>
        <dsp:cNvSpPr/>
      </dsp:nvSpPr>
      <dsp:spPr>
        <a:xfrm rot="2700000">
          <a:off x="7543292"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784BA5D-63B6-4A3B-9B83-70ADBCD969DD}">
      <dsp:nvSpPr>
        <dsp:cNvPr id="0" name=""/>
        <dsp:cNvSpPr/>
      </dsp:nvSpPr>
      <dsp:spPr>
        <a:xfrm>
          <a:off x="7601006"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Declare share amount &amp; Save the details</a:t>
          </a:r>
        </a:p>
      </dsp:txBody>
      <dsp:txXfrm>
        <a:off x="7830163" y="1696847"/>
        <a:ext cx="1144694" cy="1144739"/>
      </dsp:txXfrm>
    </dsp:sp>
    <dsp:sp modelId="{58EECA6D-6678-4622-AA3C-7D59E9D4F6A9}">
      <dsp:nvSpPr>
        <dsp:cNvPr id="0" name=""/>
        <dsp:cNvSpPr/>
      </dsp:nvSpPr>
      <dsp:spPr>
        <a:xfrm rot="2700000">
          <a:off x="5768962"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89FEB66-C068-4513-B4B8-C3B4C195009D}">
      <dsp:nvSpPr>
        <dsp:cNvPr id="0" name=""/>
        <dsp:cNvSpPr/>
      </dsp:nvSpPr>
      <dsp:spPr>
        <a:xfrm>
          <a:off x="5815904" y="1464938"/>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Add Family Details</a:t>
          </a:r>
        </a:p>
      </dsp:txBody>
      <dsp:txXfrm>
        <a:off x="6045061" y="1693946"/>
        <a:ext cx="1144694" cy="1144739"/>
      </dsp:txXfrm>
    </dsp:sp>
    <dsp:sp modelId="{8970DC3D-B292-4A83-BE77-3E76AF635130}">
      <dsp:nvSpPr>
        <dsp:cNvPr id="0" name=""/>
        <dsp:cNvSpPr/>
      </dsp:nvSpPr>
      <dsp:spPr>
        <a:xfrm rot="2700000">
          <a:off x="3994631"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F69BEB8-D9C0-4213-9E03-99D3FB8EE9F6}">
      <dsp:nvSpPr>
        <dsp:cNvPr id="0" name=""/>
        <dsp:cNvSpPr/>
      </dsp:nvSpPr>
      <dsp:spPr>
        <a:xfrm>
          <a:off x="4052345"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Enter Address Details</a:t>
          </a:r>
        </a:p>
      </dsp:txBody>
      <dsp:txXfrm>
        <a:off x="4280411" y="1696847"/>
        <a:ext cx="1144694" cy="1144739"/>
      </dsp:txXfrm>
    </dsp:sp>
    <dsp:sp modelId="{99AA9144-CAC5-4502-BDDB-BCEB71D93E7B}">
      <dsp:nvSpPr>
        <dsp:cNvPr id="0" name=""/>
        <dsp:cNvSpPr/>
      </dsp:nvSpPr>
      <dsp:spPr>
        <a:xfrm rot="2700000">
          <a:off x="2220301"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78CB22C-1C61-4EEC-BFA0-ABD7CF4B4C29}">
      <dsp:nvSpPr>
        <dsp:cNvPr id="0" name=""/>
        <dsp:cNvSpPr/>
      </dsp:nvSpPr>
      <dsp:spPr>
        <a:xfrm>
          <a:off x="2278015"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Click on ‘Manage’ &amp; Select ‘E-Nomination’</a:t>
          </a:r>
        </a:p>
      </dsp:txBody>
      <dsp:txXfrm>
        <a:off x="2506081" y="1696847"/>
        <a:ext cx="1144694" cy="1144739"/>
      </dsp:txXfrm>
    </dsp:sp>
    <dsp:sp modelId="{F9CEEBFC-7A03-4473-B9CB-A24A09D23511}">
      <dsp:nvSpPr>
        <dsp:cNvPr id="0" name=""/>
        <dsp:cNvSpPr/>
      </dsp:nvSpPr>
      <dsp:spPr>
        <a:xfrm rot="2700000">
          <a:off x="445971" y="1410394"/>
          <a:ext cx="1717344" cy="1717344"/>
        </a:xfrm>
        <a:prstGeom prst="teardrop">
          <a:avLst>
            <a:gd name="adj" fmla="val 10000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822F2A8-6544-460B-86EC-34AA454A69BD}">
      <dsp:nvSpPr>
        <dsp:cNvPr id="0" name=""/>
        <dsp:cNvSpPr/>
      </dsp:nvSpPr>
      <dsp:spPr>
        <a:xfrm>
          <a:off x="502593" y="1467839"/>
          <a:ext cx="1603008" cy="1602756"/>
        </a:xfrm>
        <a:prstGeom prst="ellipse">
          <a:avLst/>
        </a:prstGeom>
        <a:solidFill>
          <a:schemeClr val="lt2">
            <a:alpha val="90000"/>
            <a:hueOff val="0"/>
            <a:satOff val="0"/>
            <a:lumOff val="0"/>
            <a:alphaOff val="0"/>
          </a:schemeClr>
        </a:solidFill>
        <a:ln w="12700" cap="rnd"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a:t>Login to UAN Profile</a:t>
          </a:r>
        </a:p>
      </dsp:txBody>
      <dsp:txXfrm>
        <a:off x="731750" y="1696847"/>
        <a:ext cx="1144694" cy="11447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18C72-D3BE-4BD3-BA55-415BC516F476}">
      <dsp:nvSpPr>
        <dsp:cNvPr id="0" name=""/>
        <dsp:cNvSpPr/>
      </dsp:nvSpPr>
      <dsp:spPr>
        <a:xfrm>
          <a:off x="0" y="0"/>
          <a:ext cx="10146145" cy="1811841"/>
        </a:xfrm>
        <a:prstGeom prst="roundRect">
          <a:avLst>
            <a:gd name="adj" fmla="val 10000"/>
          </a:avLst>
        </a:prstGeom>
        <a:solidFill>
          <a:schemeClr val="dk2">
            <a:alpha val="90000"/>
            <a:tint val="40000"/>
            <a:hueOff val="0"/>
            <a:satOff val="0"/>
            <a:lumOff val="0"/>
            <a:alphaOff val="0"/>
          </a:schemeClr>
        </a:solidFill>
        <a:ln w="12700" cap="rnd" cmpd="sng" algn="ctr">
          <a:solidFill>
            <a:schemeClr val="dk2">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AE7A94F5-2BF8-4B06-BB2A-13E3CC9CAFF3}">
      <dsp:nvSpPr>
        <dsp:cNvPr id="0" name=""/>
        <dsp:cNvSpPr/>
      </dsp:nvSpPr>
      <dsp:spPr>
        <a:xfrm>
          <a:off x="383676" y="241578"/>
          <a:ext cx="2063698" cy="132868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1C0CDAF3-AE73-4315-ACA8-BAAA8B8DC2E0}">
      <dsp:nvSpPr>
        <dsp:cNvPr id="0" name=""/>
        <dsp:cNvSpPr/>
      </dsp:nvSpPr>
      <dsp:spPr>
        <a:xfrm rot="10800000">
          <a:off x="307178"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Font typeface="+mj-lt"/>
            <a:buNone/>
          </a:pPr>
          <a:r>
            <a:rPr lang="en-IN" sz="14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Umang app</a:t>
          </a:r>
          <a:r>
            <a:rPr lang="en-IN" sz="14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Font typeface="+mj-lt"/>
            <a:buNone/>
          </a:pP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he Umang app allows users to see their EPF Passbook, submit claims, and track their claims through mobile phones. To get started, enter your UAN- registered mobile number and complete one-time registration. </a:t>
          </a:r>
          <a:endParaRPr lang="en-IN" sz="1100" b="0" kern="1200" cap="none" spc="0" dirty="0">
            <a:ln w="0"/>
            <a:effectLst>
              <a:outerShdw blurRad="38100" dist="19050" dir="2700000" algn="tl" rotWithShape="0">
                <a:schemeClr val="dk1">
                  <a:alpha val="40000"/>
                </a:schemeClr>
              </a:outerShdw>
            </a:effectLst>
          </a:endParaRPr>
        </a:p>
      </dsp:txBody>
      <dsp:txXfrm rot="10800000">
        <a:off x="375281" y="1811841"/>
        <a:ext cx="2080488" cy="2146369"/>
      </dsp:txXfrm>
    </dsp:sp>
    <dsp:sp modelId="{C04E1172-C2E6-4F73-85FC-2185EF08F986}">
      <dsp:nvSpPr>
        <dsp:cNvPr id="0" name=""/>
        <dsp:cNvSpPr/>
      </dsp:nvSpPr>
      <dsp:spPr>
        <a:xfrm>
          <a:off x="2851500" y="241578"/>
          <a:ext cx="2004778" cy="1328683"/>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C661696D-06CE-45BA-AE14-A4A87A5FA2B2}">
      <dsp:nvSpPr>
        <dsp:cNvPr id="0" name=""/>
        <dsp:cNvSpPr/>
      </dsp:nvSpPr>
      <dsp:spPr>
        <a:xfrm rot="10800000">
          <a:off x="2745542"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Font typeface="+mj-lt"/>
            <a:buNone/>
          </a:pPr>
          <a:r>
            <a:rPr lang="en-IN" sz="14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EPFO Portal</a:t>
          </a:r>
          <a:r>
            <a:rPr lang="en-IN" sz="14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Font typeface="+mj-lt"/>
            <a:buNone/>
          </a:pP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You </a:t>
          </a:r>
          <a:r>
            <a:rPr lang="en-IN" sz="1100" b="0" kern="1200" cap="none" spc="0">
              <a:ln w="0"/>
              <a:effectLst>
                <a:outerShdw blurRad="38100" dist="19050" dir="2700000" algn="tl" rotWithShape="0">
                  <a:schemeClr val="dk1">
                    <a:alpha val="40000"/>
                  </a:schemeClr>
                </a:outerShdw>
              </a:effectLst>
              <a:latin typeface="Calibri" panose="020F0502020204030204" pitchFamily="34" charset="0"/>
              <a:ea typeface="Times New Roman" panose="02020603050405020304" pitchFamily="18" charset="0"/>
            </a:rPr>
            <a:t>must </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go to </a:t>
          </a:r>
          <a:r>
            <a:rPr lang="en-IN" sz="11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hlinkClick xmlns:r="http://schemas.openxmlformats.org/officeDocument/2006/relationships" r:id="rId3">
                <a:extLst>
                  <a:ext uri="{A12FA001-AC4F-418D-AE19-62706E023703}">
                    <ahyp:hlinkClr xmlns:ahyp="http://schemas.microsoft.com/office/drawing/2018/hyperlinkcolor" val="tx"/>
                  </a:ext>
                </a:extLst>
              </a:hlinkClick>
            </a:rPr>
            <a:t>https://passbook.epfindia.gov.in/MemberPassBook/Loginand</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 Enter your UAN and password to check your balance.</a:t>
          </a:r>
          <a:endParaRPr lang="en-IN" sz="1100" b="0" kern="1200" cap="none" spc="0" dirty="0">
            <a:ln w="0"/>
            <a:effectLst>
              <a:outerShdw blurRad="38100" dist="19050" dir="2700000" algn="tl" rotWithShape="0">
                <a:schemeClr val="dk1">
                  <a:alpha val="40000"/>
                </a:schemeClr>
              </a:outerShdw>
            </a:effectLst>
          </a:endParaRPr>
        </a:p>
      </dsp:txBody>
      <dsp:txXfrm rot="10800000">
        <a:off x="2813645" y="1811841"/>
        <a:ext cx="2080488" cy="2146369"/>
      </dsp:txXfrm>
    </dsp:sp>
    <dsp:sp modelId="{601CB387-E365-4086-8D37-77EA2725C016}">
      <dsp:nvSpPr>
        <dsp:cNvPr id="0" name=""/>
        <dsp:cNvSpPr/>
      </dsp:nvSpPr>
      <dsp:spPr>
        <a:xfrm>
          <a:off x="5270169" y="241578"/>
          <a:ext cx="2044169" cy="1328683"/>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38000" r="-38000"/>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22C82271-D363-4510-9B52-8B172D70F7F8}">
      <dsp:nvSpPr>
        <dsp:cNvPr id="0" name=""/>
        <dsp:cNvSpPr/>
      </dsp:nvSpPr>
      <dsp:spPr>
        <a:xfrm rot="10800000">
          <a:off x="5183907"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IN" sz="1400" b="0" u="sng"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SMS facility</a:t>
          </a:r>
          <a:r>
            <a:rPr lang="en-IN" sz="14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None/>
          </a:pPr>
          <a:r>
            <a:rPr lang="en-IN" sz="1100" b="0" kern="1200" cap="none" spc="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To check the balance of your EPF account, send an SMS to 7738299899. EPFOHO UAN is the format in which the message must be sent. To get this message in a language other than English, include the first three characters of the desired language in the message.</a:t>
          </a:r>
          <a:endParaRPr lang="en-IN" sz="1100" b="0" kern="1200" cap="none" spc="0" dirty="0">
            <a:ln w="0"/>
            <a:effectLst>
              <a:outerShdw blurRad="38100" dist="19050" dir="2700000" algn="tl" rotWithShape="0">
                <a:schemeClr val="dk1">
                  <a:alpha val="40000"/>
                </a:schemeClr>
              </a:outerShdw>
            </a:effectLst>
          </a:endParaRPr>
        </a:p>
        <a:p>
          <a:pPr marL="57150" lvl="1" indent="-57150" algn="l" defTabSz="400050">
            <a:lnSpc>
              <a:spcPct val="90000"/>
            </a:lnSpc>
            <a:spcBef>
              <a:spcPct val="0"/>
            </a:spcBef>
            <a:spcAft>
              <a:spcPct val="15000"/>
            </a:spcAft>
            <a:buChar char="•"/>
          </a:pPr>
          <a:endParaRPr lang="en-IN" sz="900" b="0" kern="1200" cap="none" spc="0" dirty="0">
            <a:ln w="0"/>
            <a:solidFill>
              <a:schemeClr val="bg1"/>
            </a:solidFill>
            <a:effectLst>
              <a:outerShdw blurRad="38100" dist="19050" dir="2700000" algn="tl" rotWithShape="0">
                <a:schemeClr val="dk1">
                  <a:alpha val="40000"/>
                </a:schemeClr>
              </a:outerShdw>
            </a:effectLst>
          </a:endParaRPr>
        </a:p>
      </dsp:txBody>
      <dsp:txXfrm rot="10800000">
        <a:off x="5252010" y="1811841"/>
        <a:ext cx="2080488" cy="2146369"/>
      </dsp:txXfrm>
    </dsp:sp>
    <dsp:sp modelId="{49156BFF-199A-44D0-AFD3-1EC289484CF3}">
      <dsp:nvSpPr>
        <dsp:cNvPr id="0" name=""/>
        <dsp:cNvSpPr/>
      </dsp:nvSpPr>
      <dsp:spPr>
        <a:xfrm>
          <a:off x="7718321" y="241578"/>
          <a:ext cx="2024596" cy="132868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1">
          <a:scrgbClr r="0" g="0" b="0"/>
        </a:fillRef>
        <a:effectRef idx="3">
          <a:scrgbClr r="0" g="0" b="0"/>
        </a:effectRef>
        <a:fontRef idx="minor"/>
      </dsp:style>
    </dsp:sp>
    <dsp:sp modelId="{45B86AA9-CE7C-4CD1-800F-199CA6A20C09}">
      <dsp:nvSpPr>
        <dsp:cNvPr id="0" name=""/>
        <dsp:cNvSpPr/>
      </dsp:nvSpPr>
      <dsp:spPr>
        <a:xfrm rot="10800000">
          <a:off x="7622271" y="1811841"/>
          <a:ext cx="2216694" cy="2214472"/>
        </a:xfrm>
        <a:prstGeom prst="round2SameRect">
          <a:avLst>
            <a:gd name="adj1" fmla="val 10500"/>
            <a:gd name="adj2" fmla="val 0"/>
          </a:avLst>
        </a:prstGeom>
        <a:gradFill rotWithShape="0">
          <a:gsLst>
            <a:gs pos="0">
              <a:schemeClr val="dk2">
                <a:hueOff val="0"/>
                <a:satOff val="0"/>
                <a:lumOff val="0"/>
                <a:alphaOff val="0"/>
                <a:tint val="96000"/>
                <a:lumMod val="100000"/>
              </a:schemeClr>
            </a:gs>
            <a:gs pos="78000">
              <a:schemeClr val="dk2">
                <a:hueOff val="0"/>
                <a:satOff val="0"/>
                <a:lumOff val="0"/>
                <a:alphaOff val="0"/>
                <a:shade val="94000"/>
                <a:lumMod val="94000"/>
              </a:schemeClr>
            </a:gs>
          </a:gsLst>
          <a:lin ang="5400000" scaled="0"/>
        </a:gradFill>
        <a:ln>
          <a:noFill/>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IN" sz="1400" b="0" u="sng"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Missed call facility</a:t>
          </a:r>
          <a:r>
            <a:rPr lang="en-IN" sz="1400" b="0"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a:t>
          </a:r>
          <a:r>
            <a:rPr lang="en-IN" sz="1500" b="0"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cs typeface="Calibri" panose="020F0502020204030204" pitchFamily="34" charset="0"/>
            </a:rPr>
            <a:t> </a:t>
          </a:r>
        </a:p>
        <a:p>
          <a:pPr marL="0" lvl="0" indent="0" algn="l" defTabSz="622300">
            <a:lnSpc>
              <a:spcPct val="90000"/>
            </a:lnSpc>
            <a:spcBef>
              <a:spcPct val="0"/>
            </a:spcBef>
            <a:spcAft>
              <a:spcPct val="35000"/>
            </a:spcAft>
            <a:buNone/>
          </a:pPr>
          <a:r>
            <a:rPr lang="en-IN" sz="1100" b="0" kern="1200" cap="none" spc="0" dirty="0">
              <a:ln w="0"/>
              <a:effectLst>
                <a:outerShdw blurRad="38100" dist="19050" dir="2700000" algn="tl" rotWithShape="0">
                  <a:schemeClr val="dk1">
                    <a:alpha val="40000"/>
                  </a:schemeClr>
                </a:outerShdw>
              </a:effectLst>
              <a:latin typeface="Verdana" panose="020B0604030504040204" pitchFamily="34" charset="0"/>
              <a:ea typeface="Times New Roman" panose="02020603050405020304" pitchFamily="18" charset="0"/>
            </a:rPr>
            <a:t>By initiating a missed call to 011-22901406 an EPFO member can check the balance of their EPF account. In order to use this service, a member must have Universal Account Number (UAN). This service is provided without charge. </a:t>
          </a:r>
          <a:endParaRPr lang="en-IN" sz="1100" b="0" kern="1200" cap="none" spc="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endParaRPr>
        </a:p>
      </dsp:txBody>
      <dsp:txXfrm rot="10800000">
        <a:off x="7690374" y="1811841"/>
        <a:ext cx="2080488" cy="21463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3308A7-15BF-4D5C-AE13-BE486683323E}">
      <dsp:nvSpPr>
        <dsp:cNvPr id="0" name=""/>
        <dsp:cNvSpPr/>
      </dsp:nvSpPr>
      <dsp:spPr>
        <a:xfrm>
          <a:off x="860286" y="14075"/>
          <a:ext cx="2117183" cy="158043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b="1" kern="1200" dirty="0">
              <a:latin typeface="Verdana" panose="020B0604030504040204" pitchFamily="34" charset="0"/>
              <a:ea typeface="Verdana" panose="020B0604030504040204" pitchFamily="34" charset="0"/>
            </a:rPr>
            <a:t>Aadhaar, PAN, Bank Account Details are mandatory KYCs</a:t>
          </a:r>
          <a:r>
            <a:rPr lang="en-IN" sz="1400" kern="1200" dirty="0">
              <a:latin typeface="Verdana" panose="020B0604030504040204" pitchFamily="34" charset="0"/>
              <a:ea typeface="Verdana" panose="020B0604030504040204" pitchFamily="34" charset="0"/>
            </a:rPr>
            <a:t> which needs to be updated in EPFO Portal. </a:t>
          </a:r>
        </a:p>
      </dsp:txBody>
      <dsp:txXfrm>
        <a:off x="897317" y="51106"/>
        <a:ext cx="2043121" cy="1543401"/>
      </dsp:txXfrm>
    </dsp:sp>
    <dsp:sp modelId="{76EAAF2D-0E09-420C-B02A-1EEAC31D24D2}">
      <dsp:nvSpPr>
        <dsp:cNvPr id="0" name=""/>
        <dsp:cNvSpPr/>
      </dsp:nvSpPr>
      <dsp:spPr>
        <a:xfrm>
          <a:off x="860286" y="1594508"/>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Mandatory KYCs in PF</a:t>
          </a:r>
        </a:p>
      </dsp:txBody>
      <dsp:txXfrm>
        <a:off x="860286" y="1594508"/>
        <a:ext cx="1490974" cy="679586"/>
      </dsp:txXfrm>
    </dsp:sp>
    <dsp:sp modelId="{0E14FB86-E707-4C3F-816D-CACC3BC1831F}">
      <dsp:nvSpPr>
        <dsp:cNvPr id="0" name=""/>
        <dsp:cNvSpPr/>
      </dsp:nvSpPr>
      <dsp:spPr>
        <a:xfrm>
          <a:off x="2411152" y="1702454"/>
          <a:ext cx="741014" cy="74101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1E6A4418-E737-4015-B45D-CA4F9CC787CE}">
      <dsp:nvSpPr>
        <dsp:cNvPr id="0" name=""/>
        <dsp:cNvSpPr/>
      </dsp:nvSpPr>
      <dsp:spPr>
        <a:xfrm>
          <a:off x="3335748" y="14075"/>
          <a:ext cx="2117183" cy="158043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Please raise a ticket on </a:t>
          </a:r>
          <a:r>
            <a:rPr lang="en-IN" sz="1400" b="1" kern="1200" dirty="0">
              <a:solidFill>
                <a:schemeClr val="tx1"/>
              </a:solidFill>
              <a:latin typeface="Verdana" panose="020B0604030504040204" pitchFamily="34" charset="0"/>
              <a:ea typeface="Verdana" panose="020B0604030504040204" pitchFamily="34" charset="0"/>
              <a:hlinkClick xmlns:r="http://schemas.openxmlformats.org/officeDocument/2006/relationships" r:id="rId3">
                <a:extLst>
                  <a:ext uri="{A12FA001-AC4F-418D-AE19-62706E023703}">
                    <ahyp:hlinkClr xmlns:ahyp="http://schemas.microsoft.com/office/drawing/2018/hyperlinkcolor" val="tx"/>
                  </a:ext>
                </a:extLst>
              </a:hlinkClick>
            </a:rPr>
            <a:t>retiralshelpdesk.in@neocasemail.com</a:t>
          </a:r>
          <a:r>
            <a:rPr lang="en-IN" sz="1400" b="1" kern="1200" dirty="0">
              <a:solidFill>
                <a:schemeClr val="tx1"/>
              </a:solidFill>
              <a:latin typeface="Verdana" panose="020B0604030504040204" pitchFamily="34" charset="0"/>
              <a:ea typeface="Verdana" panose="020B0604030504040204" pitchFamily="34" charset="0"/>
            </a:rPr>
            <a:t> </a:t>
          </a:r>
          <a:r>
            <a:rPr lang="en-IN" sz="1400" b="0" kern="1200" dirty="0">
              <a:latin typeface="Verdana" panose="020B0604030504040204" pitchFamily="34" charset="0"/>
              <a:ea typeface="Verdana" panose="020B0604030504040204" pitchFamily="34" charset="0"/>
            </a:rPr>
            <a:t>for further process  or status of your JDC.</a:t>
          </a:r>
        </a:p>
      </dsp:txBody>
      <dsp:txXfrm>
        <a:off x="3372779" y="51106"/>
        <a:ext cx="2043121" cy="1543401"/>
      </dsp:txXfrm>
    </dsp:sp>
    <dsp:sp modelId="{9BFF9B5D-8D98-40C4-98D0-6D3BA9A85B92}">
      <dsp:nvSpPr>
        <dsp:cNvPr id="0" name=""/>
        <dsp:cNvSpPr/>
      </dsp:nvSpPr>
      <dsp:spPr>
        <a:xfrm>
          <a:off x="3335748" y="1594508"/>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Mismatch in Aadhaar &amp; UAN Profile details</a:t>
          </a:r>
        </a:p>
      </dsp:txBody>
      <dsp:txXfrm>
        <a:off x="3335748" y="1594508"/>
        <a:ext cx="1490974" cy="679586"/>
      </dsp:txXfrm>
    </dsp:sp>
    <dsp:sp modelId="{73275AFD-0A15-4318-9A06-BCF1446E5C6E}">
      <dsp:nvSpPr>
        <dsp:cNvPr id="0" name=""/>
        <dsp:cNvSpPr/>
      </dsp:nvSpPr>
      <dsp:spPr>
        <a:xfrm>
          <a:off x="4886614" y="1702454"/>
          <a:ext cx="741014" cy="741014"/>
        </a:xfrm>
        <a:prstGeom prst="ellipse">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4A512D6E-4270-429B-9395-1B5368493A45}">
      <dsp:nvSpPr>
        <dsp:cNvPr id="0" name=""/>
        <dsp:cNvSpPr/>
      </dsp:nvSpPr>
      <dsp:spPr>
        <a:xfrm>
          <a:off x="5811210" y="14075"/>
          <a:ext cx="2117183" cy="158043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Please raise a ticket on </a:t>
          </a:r>
          <a:r>
            <a:rPr lang="en-IN" sz="1400" b="1" kern="1200" dirty="0">
              <a:solidFill>
                <a:schemeClr val="tx1"/>
              </a:solidFill>
              <a:highlight>
                <a:srgbClr val="FFFF00"/>
              </a:highlight>
              <a:latin typeface="Verdana" panose="020B0604030504040204" pitchFamily="34" charset="0"/>
              <a:ea typeface="Verdana" panose="020B0604030504040204" pitchFamily="34" charset="0"/>
              <a:hlinkClick xmlns:r="http://schemas.openxmlformats.org/officeDocument/2006/relationships" r:id="rId3">
                <a:extLst>
                  <a:ext uri="{A12FA001-AC4F-418D-AE19-62706E023703}">
                    <ahyp:hlinkClr xmlns:ahyp="http://schemas.microsoft.com/office/drawing/2018/hyperlinkcolor" val="tx"/>
                  </a:ext>
                </a:extLst>
              </a:hlinkClick>
            </a:rPr>
            <a:t>retiralshelpdesk.in@neocasemail.com</a:t>
          </a:r>
          <a:r>
            <a:rPr lang="en-IN" sz="1400" b="1" kern="1200" dirty="0">
              <a:solidFill>
                <a:schemeClr val="tx1"/>
              </a:solidFill>
              <a:latin typeface="Verdana" panose="020B0604030504040204" pitchFamily="34" charset="0"/>
              <a:ea typeface="Verdana" panose="020B0604030504040204" pitchFamily="34" charset="0"/>
            </a:rPr>
            <a:t> </a:t>
          </a:r>
          <a:r>
            <a:rPr lang="en-IN" sz="1400" b="0" kern="1200" dirty="0">
              <a:latin typeface="Verdana" panose="020B0604030504040204" pitchFamily="34" charset="0"/>
              <a:ea typeface="Verdana" panose="020B0604030504040204" pitchFamily="34" charset="0"/>
            </a:rPr>
            <a:t>for any queries related to Retirals.</a:t>
          </a:r>
          <a:endParaRPr lang="en-IN" sz="1400" kern="1200" dirty="0">
            <a:latin typeface="Verdana" panose="020B0604030504040204" pitchFamily="34" charset="0"/>
            <a:ea typeface="Verdana" panose="020B0604030504040204" pitchFamily="34" charset="0"/>
          </a:endParaRPr>
        </a:p>
      </dsp:txBody>
      <dsp:txXfrm>
        <a:off x="5848241" y="51106"/>
        <a:ext cx="2043121" cy="1543401"/>
      </dsp:txXfrm>
    </dsp:sp>
    <dsp:sp modelId="{A6051F57-1E9D-43AB-9317-4E946A356B54}">
      <dsp:nvSpPr>
        <dsp:cNvPr id="0" name=""/>
        <dsp:cNvSpPr/>
      </dsp:nvSpPr>
      <dsp:spPr>
        <a:xfrm>
          <a:off x="5811210" y="1594508"/>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Contact for Retirals Helpdesk</a:t>
          </a:r>
        </a:p>
      </dsp:txBody>
      <dsp:txXfrm>
        <a:off x="5811210" y="1594508"/>
        <a:ext cx="1490974" cy="679586"/>
      </dsp:txXfrm>
    </dsp:sp>
    <dsp:sp modelId="{BE219F52-4BE3-4008-ABC8-6D0C1D246A30}">
      <dsp:nvSpPr>
        <dsp:cNvPr id="0" name=""/>
        <dsp:cNvSpPr/>
      </dsp:nvSpPr>
      <dsp:spPr>
        <a:xfrm>
          <a:off x="7362075" y="1702454"/>
          <a:ext cx="741014" cy="741014"/>
        </a:xfrm>
        <a:prstGeom prst="ellipse">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AD000950-DC72-4F1A-87CA-5BB964166A3E}">
      <dsp:nvSpPr>
        <dsp:cNvPr id="0" name=""/>
        <dsp:cNvSpPr/>
      </dsp:nvSpPr>
      <dsp:spPr>
        <a:xfrm>
          <a:off x="8286671" y="2649"/>
          <a:ext cx="2164819" cy="1626138"/>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After </a:t>
          </a:r>
          <a:r>
            <a:rPr lang="en-IN" sz="1400" b="0" kern="1200" dirty="0">
              <a:latin typeface="Verdana" panose="020B0604030504040204" pitchFamily="34" charset="0"/>
              <a:ea typeface="Verdana" panose="020B0604030504040204" pitchFamily="34" charset="0"/>
            </a:rPr>
            <a:t>generation of your new PF Member ID at new Employer, raise a Transfer request through UAN Profile, </a:t>
          </a:r>
          <a:r>
            <a:rPr lang="en-IN" sz="1400" b="0" u="sng" kern="1200" dirty="0">
              <a:latin typeface="Verdana" panose="020B0604030504040204" pitchFamily="34" charset="0"/>
              <a:ea typeface="Verdana" panose="020B0604030504040204" pitchFamily="34" charset="0"/>
            </a:rPr>
            <a:t>auto-transfer is not possible.</a:t>
          </a:r>
        </a:p>
      </dsp:txBody>
      <dsp:txXfrm>
        <a:off x="8324773" y="40751"/>
        <a:ext cx="2088615" cy="1588036"/>
      </dsp:txXfrm>
    </dsp:sp>
    <dsp:sp modelId="{25479661-88D4-4F3C-AC4B-89408DE8A203}">
      <dsp:nvSpPr>
        <dsp:cNvPr id="0" name=""/>
        <dsp:cNvSpPr/>
      </dsp:nvSpPr>
      <dsp:spPr>
        <a:xfrm>
          <a:off x="8310490" y="1605935"/>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PF Transfer Process</a:t>
          </a:r>
        </a:p>
      </dsp:txBody>
      <dsp:txXfrm>
        <a:off x="8310490" y="1605935"/>
        <a:ext cx="1490974" cy="679586"/>
      </dsp:txXfrm>
    </dsp:sp>
    <dsp:sp modelId="{B15F6E00-4F30-4E06-B10D-D7FFCAA7B142}">
      <dsp:nvSpPr>
        <dsp:cNvPr id="0" name=""/>
        <dsp:cNvSpPr/>
      </dsp:nvSpPr>
      <dsp:spPr>
        <a:xfrm>
          <a:off x="9861355" y="1713881"/>
          <a:ext cx="741014" cy="741014"/>
        </a:xfrm>
        <a:prstGeom prst="ellipse">
          <a:avLst/>
        </a:prstGeom>
        <a:blipFill>
          <a:blip xmlns:r="http://schemas.openxmlformats.org/officeDocument/2006/relationships" r:embed="rId8">
            <a:extLst>
              <a:ext uri="{96DAC541-7B7A-43D3-8B79-37D633B846F1}">
                <asvg:svgBlip xmlns:asvg="http://schemas.microsoft.com/office/drawing/2016/SVG/main" r:embed="rId9"/>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54A8A90F-0435-4F39-9923-2A38871C36BF}">
      <dsp:nvSpPr>
        <dsp:cNvPr id="0" name=""/>
        <dsp:cNvSpPr/>
      </dsp:nvSpPr>
      <dsp:spPr>
        <a:xfrm>
          <a:off x="3347657" y="2840257"/>
          <a:ext cx="2117183" cy="1836462"/>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IN" sz="1400" b="0" kern="1200" dirty="0">
              <a:latin typeface="Verdana" panose="020B0604030504040204" pitchFamily="34" charset="0"/>
              <a:ea typeface="Verdana" panose="020B0604030504040204" pitchFamily="34" charset="0"/>
            </a:rPr>
            <a:t>Its </a:t>
          </a:r>
          <a:r>
            <a:rPr lang="en-IN" sz="1400" b="1" kern="1200" dirty="0">
              <a:latin typeface="Verdana" panose="020B0604030504040204" pitchFamily="34" charset="0"/>
              <a:ea typeface="Verdana" panose="020B0604030504040204" pitchFamily="34" charset="0"/>
            </a:rPr>
            <a:t>mandatory to Transfer PF to new Organization.</a:t>
          </a:r>
          <a:r>
            <a:rPr lang="en-IN" sz="1400" b="0" kern="1200" dirty="0">
              <a:latin typeface="Verdana" panose="020B0604030504040204" pitchFamily="34" charset="0"/>
              <a:ea typeface="Verdana" panose="020B0604030504040204" pitchFamily="34" charset="0"/>
            </a:rPr>
            <a:t> Exceptional cases:</a:t>
          </a:r>
        </a:p>
        <a:p>
          <a:pPr marL="114300" lvl="1" indent="-114300" algn="l" defTabSz="533400">
            <a:lnSpc>
              <a:spcPct val="90000"/>
            </a:lnSpc>
            <a:spcBef>
              <a:spcPct val="0"/>
            </a:spcBef>
            <a:spcAft>
              <a:spcPct val="15000"/>
            </a:spcAft>
            <a:buChar char="•"/>
          </a:pPr>
          <a:r>
            <a:rPr lang="en-IN" sz="1200" b="0" kern="1200" dirty="0">
              <a:latin typeface="Verdana" panose="020B0604030504040204" pitchFamily="34" charset="0"/>
              <a:ea typeface="Verdana" panose="020B0604030504040204" pitchFamily="34" charset="0"/>
            </a:rPr>
            <a:t>Retirement,</a:t>
          </a:r>
        </a:p>
        <a:p>
          <a:pPr marL="114300" lvl="1" indent="-114300" algn="l" defTabSz="533400">
            <a:lnSpc>
              <a:spcPct val="90000"/>
            </a:lnSpc>
            <a:spcBef>
              <a:spcPct val="0"/>
            </a:spcBef>
            <a:spcAft>
              <a:spcPct val="15000"/>
            </a:spcAft>
            <a:buChar char="•"/>
          </a:pPr>
          <a:r>
            <a:rPr lang="en-IN" sz="1200" b="0" kern="1200" dirty="0">
              <a:latin typeface="Verdana" panose="020B0604030504040204" pitchFamily="34" charset="0"/>
              <a:ea typeface="Verdana" panose="020B0604030504040204" pitchFamily="34" charset="0"/>
            </a:rPr>
            <a:t>Permanent Disability of an Employee</a:t>
          </a:r>
        </a:p>
        <a:p>
          <a:pPr marL="114300" lvl="1" indent="-114300" algn="l" defTabSz="533400">
            <a:lnSpc>
              <a:spcPct val="90000"/>
            </a:lnSpc>
            <a:spcBef>
              <a:spcPct val="0"/>
            </a:spcBef>
            <a:spcAft>
              <a:spcPct val="15000"/>
            </a:spcAft>
            <a:buChar char="•"/>
          </a:pPr>
          <a:r>
            <a:rPr lang="en-IN" sz="1200" b="0" kern="1200" dirty="0">
              <a:latin typeface="Verdana" panose="020B0604030504040204" pitchFamily="34" charset="0"/>
              <a:ea typeface="Verdana" panose="020B0604030504040204" pitchFamily="34" charset="0"/>
            </a:rPr>
            <a:t>Un-employed for more than 2 months.</a:t>
          </a:r>
        </a:p>
      </dsp:txBody>
      <dsp:txXfrm>
        <a:off x="3390688" y="2883288"/>
        <a:ext cx="2031121" cy="1793431"/>
      </dsp:txXfrm>
    </dsp:sp>
    <dsp:sp modelId="{7F3FC3A3-4744-4D86-9E94-84D86B4B436D}">
      <dsp:nvSpPr>
        <dsp:cNvPr id="0" name=""/>
        <dsp:cNvSpPr/>
      </dsp:nvSpPr>
      <dsp:spPr>
        <a:xfrm>
          <a:off x="3347657" y="4713001"/>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PF Withdrawal</a:t>
          </a:r>
        </a:p>
      </dsp:txBody>
      <dsp:txXfrm>
        <a:off x="3347657" y="4713001"/>
        <a:ext cx="1490974" cy="679586"/>
      </dsp:txXfrm>
    </dsp:sp>
    <dsp:sp modelId="{E597C7E3-1725-4D64-873A-658B948DFB79}">
      <dsp:nvSpPr>
        <dsp:cNvPr id="0" name=""/>
        <dsp:cNvSpPr/>
      </dsp:nvSpPr>
      <dsp:spPr>
        <a:xfrm>
          <a:off x="4898523" y="4656650"/>
          <a:ext cx="741014" cy="741014"/>
        </a:xfrm>
        <a:prstGeom prst="ellipse">
          <a:avLst/>
        </a:prstGeom>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1BEA4FF2-BE70-4384-A64E-332A8840E9CC}">
      <dsp:nvSpPr>
        <dsp:cNvPr id="0" name=""/>
        <dsp:cNvSpPr/>
      </dsp:nvSpPr>
      <dsp:spPr>
        <a:xfrm>
          <a:off x="5823119" y="2821904"/>
          <a:ext cx="2117183" cy="1909873"/>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Helpdesk Number: 1800 118 005</a:t>
          </a:r>
        </a:p>
        <a:p>
          <a:pPr marL="114300" lvl="1" indent="-114300" algn="just" defTabSz="622300">
            <a:lnSpc>
              <a:spcPct val="90000"/>
            </a:lnSpc>
            <a:spcBef>
              <a:spcPct val="0"/>
            </a:spcBef>
            <a:spcAft>
              <a:spcPct val="15000"/>
            </a:spcAft>
            <a:buChar char="•"/>
          </a:pPr>
          <a:r>
            <a:rPr lang="en-IN" sz="1400" kern="1200" dirty="0">
              <a:solidFill>
                <a:schemeClr val="tx1"/>
              </a:solidFill>
              <a:latin typeface="Verdana" panose="020B0604030504040204" pitchFamily="34" charset="0"/>
              <a:ea typeface="Verdana" panose="020B0604030504040204" pitchFamily="34" charset="0"/>
              <a:hlinkClick xmlns:r="http://schemas.openxmlformats.org/officeDocument/2006/relationships" r:id="rId12">
                <a:extLst>
                  <a:ext uri="{A12FA001-AC4F-418D-AE19-62706E023703}">
                    <ahyp:hlinkClr xmlns:ahyp="http://schemas.microsoft.com/office/drawing/2018/hyperlinkcolor" val="tx"/>
                  </a:ext>
                </a:extLst>
              </a:hlinkClick>
            </a:rPr>
            <a:t>employeefeedback@epfindia.gov.in</a:t>
          </a:r>
          <a:endParaRPr lang="en-IN" sz="1400" kern="1200" dirty="0">
            <a:solidFill>
              <a:schemeClr val="tx1"/>
            </a:solidFill>
            <a:latin typeface="Verdana" panose="020B0604030504040204" pitchFamily="34" charset="0"/>
            <a:ea typeface="Verdana" panose="020B0604030504040204" pitchFamily="34" charset="0"/>
          </a:endParaRPr>
        </a:p>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Raise a Grievance on https://epfigms.gov.in/</a:t>
          </a:r>
        </a:p>
      </dsp:txBody>
      <dsp:txXfrm>
        <a:off x="5867870" y="2866655"/>
        <a:ext cx="2027681" cy="1865122"/>
      </dsp:txXfrm>
    </dsp:sp>
    <dsp:sp modelId="{1476D0B0-D32C-4E30-B83E-603F9D26A956}">
      <dsp:nvSpPr>
        <dsp:cNvPr id="0" name=""/>
        <dsp:cNvSpPr/>
      </dsp:nvSpPr>
      <dsp:spPr>
        <a:xfrm>
          <a:off x="5823119" y="4702580"/>
          <a:ext cx="2117183" cy="679586"/>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EPFO Contact Details</a:t>
          </a:r>
        </a:p>
      </dsp:txBody>
      <dsp:txXfrm>
        <a:off x="5823119" y="4702580"/>
        <a:ext cx="1490974" cy="679586"/>
      </dsp:txXfrm>
    </dsp:sp>
    <dsp:sp modelId="{44187FF7-02D2-484B-8DEF-B315CD61EA54}">
      <dsp:nvSpPr>
        <dsp:cNvPr id="0" name=""/>
        <dsp:cNvSpPr/>
      </dsp:nvSpPr>
      <dsp:spPr>
        <a:xfrm>
          <a:off x="7373985" y="4675003"/>
          <a:ext cx="741014" cy="741014"/>
        </a:xfrm>
        <a:prstGeom prst="ellipse">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3308A7-15BF-4D5C-AE13-BE486683323E}">
      <dsp:nvSpPr>
        <dsp:cNvPr id="0" name=""/>
        <dsp:cNvSpPr/>
      </dsp:nvSpPr>
      <dsp:spPr>
        <a:xfrm>
          <a:off x="258072"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An </a:t>
          </a:r>
          <a:r>
            <a:rPr lang="en-IN" sz="1400" b="0" kern="1200" dirty="0">
              <a:latin typeface="Verdana" panose="020B0604030504040204" pitchFamily="34" charset="0"/>
              <a:ea typeface="Verdana" panose="020B0604030504040204" pitchFamily="34" charset="0"/>
            </a:rPr>
            <a:t>employee who worked for </a:t>
          </a:r>
          <a:r>
            <a:rPr lang="en-IN" sz="1400" b="1" kern="1200" dirty="0">
              <a:latin typeface="Verdana" panose="020B0604030504040204" pitchFamily="34" charset="0"/>
              <a:ea typeface="Verdana" panose="020B0604030504040204" pitchFamily="34" charset="0"/>
            </a:rPr>
            <a:t>4 years and 240 days or more,</a:t>
          </a:r>
          <a:r>
            <a:rPr lang="en-IN" sz="1400" kern="1200" dirty="0">
              <a:latin typeface="Verdana" panose="020B0604030504040204" pitchFamily="34" charset="0"/>
              <a:ea typeface="Verdana" panose="020B0604030504040204" pitchFamily="34" charset="0"/>
            </a:rPr>
            <a:t> will be eligible for Gratuity.</a:t>
          </a:r>
        </a:p>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It is processed </a:t>
          </a:r>
          <a:r>
            <a:rPr lang="en-IN" sz="1400" b="0" kern="1200" dirty="0">
              <a:latin typeface="Verdana" panose="020B0604030504040204" pitchFamily="34" charset="0"/>
              <a:ea typeface="Verdana" panose="020B0604030504040204" pitchFamily="34" charset="0"/>
            </a:rPr>
            <a:t>only</a:t>
          </a:r>
          <a:r>
            <a:rPr lang="en-IN" sz="1400" b="1" kern="1200" dirty="0">
              <a:latin typeface="Verdana" panose="020B0604030504040204" pitchFamily="34" charset="0"/>
              <a:ea typeface="Verdana" panose="020B0604030504040204" pitchFamily="34" charset="0"/>
            </a:rPr>
            <a:t> after your date of exit</a:t>
          </a:r>
          <a:r>
            <a:rPr lang="en-IN" sz="1400" kern="1200" dirty="0">
              <a:latin typeface="Verdana" panose="020B0604030504040204" pitchFamily="34" charset="0"/>
              <a:ea typeface="Verdana" panose="020B0604030504040204" pitchFamily="34" charset="0"/>
            </a:rPr>
            <a:t>.</a:t>
          </a:r>
        </a:p>
      </dsp:txBody>
      <dsp:txXfrm>
        <a:off x="296418" y="42028"/>
        <a:ext cx="2115648" cy="1598189"/>
      </dsp:txXfrm>
    </dsp:sp>
    <dsp:sp modelId="{76EAAF2D-0E09-420C-B02A-1EEAC31D24D2}">
      <dsp:nvSpPr>
        <dsp:cNvPr id="0" name=""/>
        <dsp:cNvSpPr/>
      </dsp:nvSpPr>
      <dsp:spPr>
        <a:xfrm>
          <a:off x="258072"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Eligibility of Gratuity</a:t>
          </a:r>
        </a:p>
      </dsp:txBody>
      <dsp:txXfrm>
        <a:off x="258072" y="1640217"/>
        <a:ext cx="1543901" cy="703710"/>
      </dsp:txXfrm>
    </dsp:sp>
    <dsp:sp modelId="{0E14FB86-E707-4C3F-816D-CACC3BC1831F}">
      <dsp:nvSpPr>
        <dsp:cNvPr id="0" name=""/>
        <dsp:cNvSpPr/>
      </dsp:nvSpPr>
      <dsp:spPr>
        <a:xfrm>
          <a:off x="1863992" y="1751995"/>
          <a:ext cx="767319" cy="76731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1E6A4418-E737-4015-B45D-CA4F9CC787CE}">
      <dsp:nvSpPr>
        <dsp:cNvPr id="0" name=""/>
        <dsp:cNvSpPr/>
      </dsp:nvSpPr>
      <dsp:spPr>
        <a:xfrm>
          <a:off x="2821409"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We will process your gratuity </a:t>
          </a:r>
          <a:r>
            <a:rPr lang="en-IN" sz="1400" b="1" kern="1200" dirty="0">
              <a:latin typeface="Verdana" panose="020B0604030504040204" pitchFamily="34" charset="0"/>
              <a:ea typeface="Verdana" panose="020B0604030504040204" pitchFamily="34" charset="0"/>
            </a:rPr>
            <a:t>without Form.</a:t>
          </a:r>
          <a:r>
            <a:rPr lang="en-IN" sz="1400" kern="1200" dirty="0">
              <a:latin typeface="Verdana" panose="020B0604030504040204" pitchFamily="34" charset="0"/>
              <a:ea typeface="Verdana" panose="020B0604030504040204" pitchFamily="34" charset="0"/>
            </a:rPr>
            <a:t> </a:t>
          </a:r>
        </a:p>
      </dsp:txBody>
      <dsp:txXfrm>
        <a:off x="2859755" y="42028"/>
        <a:ext cx="2115648" cy="1598189"/>
      </dsp:txXfrm>
    </dsp:sp>
    <dsp:sp modelId="{9BFF9B5D-8D98-40C4-98D0-6D3BA9A85B92}">
      <dsp:nvSpPr>
        <dsp:cNvPr id="0" name=""/>
        <dsp:cNvSpPr/>
      </dsp:nvSpPr>
      <dsp:spPr>
        <a:xfrm>
          <a:off x="2821409"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Document Required for Gratuity Settlement</a:t>
          </a:r>
        </a:p>
      </dsp:txBody>
      <dsp:txXfrm>
        <a:off x="2821409" y="1640217"/>
        <a:ext cx="1543901" cy="703710"/>
      </dsp:txXfrm>
    </dsp:sp>
    <dsp:sp modelId="{73275AFD-0A15-4318-9A06-BCF1446E5C6E}">
      <dsp:nvSpPr>
        <dsp:cNvPr id="0" name=""/>
        <dsp:cNvSpPr/>
      </dsp:nvSpPr>
      <dsp:spPr>
        <a:xfrm>
          <a:off x="4427329" y="1751995"/>
          <a:ext cx="767319" cy="767319"/>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AD000950-DC72-4F1A-87CA-5BB964166A3E}">
      <dsp:nvSpPr>
        <dsp:cNvPr id="0" name=""/>
        <dsp:cNvSpPr/>
      </dsp:nvSpPr>
      <dsp:spPr>
        <a:xfrm>
          <a:off x="5384746"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kern="1200" dirty="0">
              <a:latin typeface="Verdana" panose="020B0604030504040204" pitchFamily="34" charset="0"/>
              <a:ea typeface="Verdana" panose="020B0604030504040204" pitchFamily="34" charset="0"/>
            </a:rPr>
            <a:t>Gratuity claim is processed and disbursed </a:t>
          </a:r>
          <a:r>
            <a:rPr lang="en-IN" sz="1400" b="1" kern="1200" dirty="0">
              <a:latin typeface="Verdana" panose="020B0604030504040204" pitchFamily="34" charset="0"/>
              <a:ea typeface="Verdana" panose="020B0604030504040204" pitchFamily="34" charset="0"/>
            </a:rPr>
            <a:t>within 30 days from your last working date</a:t>
          </a:r>
          <a:r>
            <a:rPr lang="en-IN" sz="1400" kern="1200" dirty="0">
              <a:latin typeface="Verdana" panose="020B0604030504040204" pitchFamily="34" charset="0"/>
              <a:ea typeface="Verdana" panose="020B0604030504040204" pitchFamily="34" charset="0"/>
            </a:rPr>
            <a:t>.</a:t>
          </a:r>
        </a:p>
      </dsp:txBody>
      <dsp:txXfrm>
        <a:off x="5423092" y="42028"/>
        <a:ext cx="2115648" cy="1598189"/>
      </dsp:txXfrm>
    </dsp:sp>
    <dsp:sp modelId="{25479661-88D4-4F3C-AC4B-89408DE8A203}">
      <dsp:nvSpPr>
        <dsp:cNvPr id="0" name=""/>
        <dsp:cNvSpPr/>
      </dsp:nvSpPr>
      <dsp:spPr>
        <a:xfrm>
          <a:off x="5384746"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Timeline to process Gratuity Settlement</a:t>
          </a:r>
        </a:p>
      </dsp:txBody>
      <dsp:txXfrm>
        <a:off x="5384746" y="1640217"/>
        <a:ext cx="1543901" cy="703710"/>
      </dsp:txXfrm>
    </dsp:sp>
    <dsp:sp modelId="{B15F6E00-4F30-4E06-B10D-D7FFCAA7B142}">
      <dsp:nvSpPr>
        <dsp:cNvPr id="0" name=""/>
        <dsp:cNvSpPr/>
      </dsp:nvSpPr>
      <dsp:spPr>
        <a:xfrm>
          <a:off x="6990666" y="1751995"/>
          <a:ext cx="767319" cy="767319"/>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4A512D6E-4270-429B-9395-1B5368493A45}">
      <dsp:nvSpPr>
        <dsp:cNvPr id="0" name=""/>
        <dsp:cNvSpPr/>
      </dsp:nvSpPr>
      <dsp:spPr>
        <a:xfrm>
          <a:off x="7948083" y="368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just" defTabSz="622300">
            <a:lnSpc>
              <a:spcPct val="90000"/>
            </a:lnSpc>
            <a:spcBef>
              <a:spcPct val="0"/>
            </a:spcBef>
            <a:spcAft>
              <a:spcPct val="15000"/>
            </a:spcAft>
            <a:buChar char="•"/>
          </a:pPr>
          <a:r>
            <a:rPr lang="en-IN" sz="1400" b="1" kern="1200" dirty="0">
              <a:latin typeface="Verdana" panose="020B0604030504040204" pitchFamily="34" charset="0"/>
              <a:ea typeface="Verdana" panose="020B0604030504040204" pitchFamily="34" charset="0"/>
            </a:rPr>
            <a:t>Gratuity</a:t>
          </a:r>
          <a:r>
            <a:rPr lang="en-IN" sz="1400" kern="1200" dirty="0">
              <a:latin typeface="Verdana" panose="020B0604030504040204" pitchFamily="34" charset="0"/>
              <a:ea typeface="Verdana" panose="020B0604030504040204" pitchFamily="34" charset="0"/>
            </a:rPr>
            <a:t> claim is processed </a:t>
          </a:r>
          <a:r>
            <a:rPr lang="en-IN" sz="1400" b="1" kern="1200" dirty="0">
              <a:latin typeface="Verdana" panose="020B0604030504040204" pitchFamily="34" charset="0"/>
              <a:ea typeface="Verdana" panose="020B0604030504040204" pitchFamily="34" charset="0"/>
            </a:rPr>
            <a:t>separately</a:t>
          </a:r>
          <a:r>
            <a:rPr lang="en-IN" sz="1400" kern="1200" dirty="0">
              <a:latin typeface="Verdana" panose="020B0604030504040204" pitchFamily="34" charset="0"/>
              <a:ea typeface="Verdana" panose="020B0604030504040204" pitchFamily="34" charset="0"/>
            </a:rPr>
            <a:t> and </a:t>
          </a:r>
          <a:r>
            <a:rPr lang="en-IN" sz="1400" b="1" kern="1200" dirty="0">
              <a:latin typeface="Verdana" panose="020B0604030504040204" pitchFamily="34" charset="0"/>
              <a:ea typeface="Verdana" panose="020B0604030504040204" pitchFamily="34" charset="0"/>
            </a:rPr>
            <a:t>not along with the final settlement</a:t>
          </a:r>
          <a:r>
            <a:rPr lang="en-IN" sz="1400" kern="1200" dirty="0">
              <a:latin typeface="Verdana" panose="020B0604030504040204" pitchFamily="34" charset="0"/>
              <a:ea typeface="Verdana" panose="020B0604030504040204" pitchFamily="34" charset="0"/>
            </a:rPr>
            <a:t>.</a:t>
          </a:r>
        </a:p>
      </dsp:txBody>
      <dsp:txXfrm>
        <a:off x="7986429" y="42028"/>
        <a:ext cx="2115648" cy="1598189"/>
      </dsp:txXfrm>
    </dsp:sp>
    <dsp:sp modelId="{A6051F57-1E9D-43AB-9317-4E946A356B54}">
      <dsp:nvSpPr>
        <dsp:cNvPr id="0" name=""/>
        <dsp:cNvSpPr/>
      </dsp:nvSpPr>
      <dsp:spPr>
        <a:xfrm>
          <a:off x="7948083" y="164021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Gratuity Settlement Process</a:t>
          </a:r>
        </a:p>
      </dsp:txBody>
      <dsp:txXfrm>
        <a:off x="7948083" y="1640217"/>
        <a:ext cx="1543901" cy="703710"/>
      </dsp:txXfrm>
    </dsp:sp>
    <dsp:sp modelId="{BE219F52-4BE3-4008-ABC8-6D0C1D246A30}">
      <dsp:nvSpPr>
        <dsp:cNvPr id="0" name=""/>
        <dsp:cNvSpPr/>
      </dsp:nvSpPr>
      <dsp:spPr>
        <a:xfrm>
          <a:off x="9554003" y="1751995"/>
          <a:ext cx="767319" cy="767319"/>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54A8A90F-0435-4F39-9923-2A38871C36BF}">
      <dsp:nvSpPr>
        <dsp:cNvPr id="0" name=""/>
        <dsp:cNvSpPr/>
      </dsp:nvSpPr>
      <dsp:spPr>
        <a:xfrm>
          <a:off x="4103078" y="2899352"/>
          <a:ext cx="2192340" cy="1636535"/>
        </a:xfrm>
        <a:prstGeom prst="round2SameRect">
          <a:avLst>
            <a:gd name="adj1" fmla="val 8000"/>
            <a:gd name="adj2" fmla="val 0"/>
          </a:avLst>
        </a:prstGeom>
        <a:solidFill>
          <a:schemeClr val="lt1">
            <a:alpha val="90000"/>
            <a:hueOff val="0"/>
            <a:satOff val="0"/>
            <a:lumOff val="0"/>
            <a:alphaOff val="0"/>
          </a:schemeClr>
        </a:solidFill>
        <a:ln w="12700" cap="rnd" cmpd="sng" algn="ctr">
          <a:solidFill>
            <a:schemeClr val="accent1">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IN" sz="1400" kern="1200" dirty="0"/>
            <a:t>Raise a ticket on </a:t>
          </a:r>
          <a:r>
            <a:rPr lang="en-IN" sz="1400" b="1" kern="1200" dirty="0">
              <a:solidFill>
                <a:schemeClr val="tx1"/>
              </a:solidFill>
              <a:highlight>
                <a:srgbClr val="FFFF00"/>
              </a:highlight>
              <a:hlinkClick xmlns:r="http://schemas.openxmlformats.org/officeDocument/2006/relationships" r:id="rId9">
                <a:extLst>
                  <a:ext uri="{A12FA001-AC4F-418D-AE19-62706E023703}">
                    <ahyp:hlinkClr xmlns:ahyp="http://schemas.microsoft.com/office/drawing/2018/hyperlinkcolor" val="tx"/>
                  </a:ext>
                </a:extLst>
              </a:hlinkClick>
            </a:rPr>
            <a:t>retiralshelpdesk.in@neocasemail.com</a:t>
          </a:r>
          <a:r>
            <a:rPr lang="en-IN" sz="1400" b="1" kern="1200" dirty="0">
              <a:highlight>
                <a:srgbClr val="FFFF00"/>
              </a:highlight>
            </a:rPr>
            <a:t> </a:t>
          </a:r>
          <a:r>
            <a:rPr lang="en-IN" sz="1400" b="0" kern="1200" dirty="0"/>
            <a:t>in case Gratuity payment is not completed within 30 days from your date of exit.</a:t>
          </a:r>
        </a:p>
      </dsp:txBody>
      <dsp:txXfrm>
        <a:off x="4141424" y="2937698"/>
        <a:ext cx="2115648" cy="1598189"/>
      </dsp:txXfrm>
    </dsp:sp>
    <dsp:sp modelId="{7F3FC3A3-4744-4D86-9E94-84D86B4B436D}">
      <dsp:nvSpPr>
        <dsp:cNvPr id="0" name=""/>
        <dsp:cNvSpPr/>
      </dsp:nvSpPr>
      <dsp:spPr>
        <a:xfrm>
          <a:off x="4103078" y="4535887"/>
          <a:ext cx="2192340" cy="703710"/>
        </a:xfrm>
        <a:prstGeom prst="rect">
          <a:avLst/>
        </a:prstGeom>
        <a:gradFill rotWithShape="0">
          <a:gsLst>
            <a:gs pos="0">
              <a:schemeClr val="accent1">
                <a:hueOff val="0"/>
                <a:satOff val="0"/>
                <a:lumOff val="0"/>
                <a:alphaOff val="0"/>
                <a:tint val="96000"/>
                <a:lumMod val="100000"/>
              </a:schemeClr>
            </a:gs>
            <a:gs pos="78000">
              <a:schemeClr val="accent1">
                <a:hueOff val="0"/>
                <a:satOff val="0"/>
                <a:lumOff val="0"/>
                <a:alphaOff val="0"/>
                <a:shade val="94000"/>
                <a:lumMod val="94000"/>
              </a:schemeClr>
            </a:gs>
          </a:gsLst>
          <a:lin ang="5400000" scaled="0"/>
        </a:gradFill>
        <a:ln w="12700" cap="rnd" cmpd="sng" algn="ctr">
          <a:solidFill>
            <a:schemeClr val="accent1">
              <a:hueOff val="0"/>
              <a:satOff val="0"/>
              <a:lumOff val="0"/>
              <a:alphaOff val="0"/>
            </a:schemeClr>
          </a:solidFill>
          <a:prstDash val="solid"/>
        </a:ln>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dsp:spPr>
      <dsp:style>
        <a:lnRef idx="1">
          <a:scrgbClr r="0" g="0" b="0"/>
        </a:lnRef>
        <a:fillRef idx="3">
          <a:scrgbClr r="0" g="0" b="0"/>
        </a:fillRef>
        <a:effectRef idx="3">
          <a:scrgbClr r="0" g="0" b="0"/>
        </a:effectRef>
        <a:fontRef idx="minor">
          <a:schemeClr val="lt1"/>
        </a:fontRef>
      </dsp:style>
      <dsp:txBody>
        <a:bodyPr spcFirstLastPara="0" vert="horz" wrap="square" lIns="45720" tIns="0" rIns="15240" bIns="0" numCol="1" spcCol="1270" anchor="ctr" anchorCtr="0">
          <a:noAutofit/>
        </a:bodyPr>
        <a:lstStyle/>
        <a:p>
          <a:pPr marL="0" lvl="0" indent="0" algn="l" defTabSz="533400">
            <a:lnSpc>
              <a:spcPct val="90000"/>
            </a:lnSpc>
            <a:spcBef>
              <a:spcPct val="0"/>
            </a:spcBef>
            <a:spcAft>
              <a:spcPct val="35000"/>
            </a:spcAft>
            <a:buNone/>
          </a:pPr>
          <a:r>
            <a:rPr lang="en-IN" sz="1200" b="1" kern="1200" dirty="0">
              <a:latin typeface="Verdana" panose="020B0604030504040204" pitchFamily="34" charset="0"/>
              <a:ea typeface="Verdana" panose="020B0604030504040204" pitchFamily="34" charset="0"/>
            </a:rPr>
            <a:t>Track Gratuity Settlement Status</a:t>
          </a:r>
        </a:p>
      </dsp:txBody>
      <dsp:txXfrm>
        <a:off x="4103078" y="4535887"/>
        <a:ext cx="1543901" cy="703710"/>
      </dsp:txXfrm>
    </dsp:sp>
    <dsp:sp modelId="{E597C7E3-1725-4D64-873A-658B948DFB79}">
      <dsp:nvSpPr>
        <dsp:cNvPr id="0" name=""/>
        <dsp:cNvSpPr/>
      </dsp:nvSpPr>
      <dsp:spPr>
        <a:xfrm>
          <a:off x="5708997" y="4647665"/>
          <a:ext cx="767319" cy="767319"/>
        </a:xfrm>
        <a:prstGeom prst="ellipse">
          <a:avLst/>
        </a:prstGeom>
        <a:blipFill>
          <a:blip xmlns:r="http://schemas.openxmlformats.org/officeDocument/2006/relationships"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a:ln w="12700" cap="rnd" cmpd="sng" algn="ctr">
          <a:solidFill>
            <a:schemeClr val="accent1">
              <a:alpha val="90000"/>
              <a:tint val="40000"/>
              <a:hueOff val="0"/>
              <a:satOff val="0"/>
              <a:lumOff val="0"/>
              <a:alphaOff val="0"/>
            </a:schemeClr>
          </a:solidFill>
          <a:prstDash val="solid"/>
        </a:ln>
        <a:effectLst>
          <a:outerShdw blurRad="38100" dist="25400" dir="5400000" rotWithShape="0">
            <a:srgbClr val="000000">
              <a:alpha val="35000"/>
            </a:srgbClr>
          </a:outerShdw>
        </a:effectLst>
      </dsp:spPr>
      <dsp:style>
        <a:lnRef idx="1">
          <a:scrgbClr r="0" g="0" b="0"/>
        </a:lnRef>
        <a:fillRef idx="1">
          <a:scrgbClr r="0" g="0" b="0"/>
        </a:fillRef>
        <a:effectRef idx="2">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83137-B753-4083-B928-56B6B64ABB69}">
      <dsp:nvSpPr>
        <dsp:cNvPr id="0" name=""/>
        <dsp:cNvSpPr/>
      </dsp:nvSpPr>
      <dsp:spPr>
        <a:xfrm>
          <a:off x="122880" y="321051"/>
          <a:ext cx="1289745" cy="1289745"/>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B9E932-20E5-4B58-A94C-202801E94587}">
      <dsp:nvSpPr>
        <dsp:cNvPr id="0" name=""/>
        <dsp:cNvSpPr/>
      </dsp:nvSpPr>
      <dsp:spPr>
        <a:xfrm>
          <a:off x="393727" y="591897"/>
          <a:ext cx="748052" cy="7480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BD7D9CAF-DDBB-4AD4-A2B2-2949030458EC}">
      <dsp:nvSpPr>
        <dsp:cNvPr id="0" name=""/>
        <dsp:cNvSpPr/>
      </dsp:nvSpPr>
      <dsp:spPr>
        <a:xfrm>
          <a:off x="1688999" y="321051"/>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a:t>DL Retirals Team - </a:t>
          </a:r>
          <a:r>
            <a:rPr lang="en-IN" sz="1400" kern="1200">
              <a:hlinkClick xmlns:r="http://schemas.openxmlformats.org/officeDocument/2006/relationships" r:id="rId3"/>
            </a:rPr>
            <a:t>retiralshelpdesk.in@neocasemail.com</a:t>
          </a:r>
          <a:endParaRPr lang="en-US" sz="1400" kern="1200"/>
        </a:p>
      </dsp:txBody>
      <dsp:txXfrm>
        <a:off x="1688999" y="321051"/>
        <a:ext cx="3040113" cy="1289745"/>
      </dsp:txXfrm>
    </dsp:sp>
    <dsp:sp modelId="{78A922F0-E25D-4AB3-95E1-028EFF494D23}">
      <dsp:nvSpPr>
        <dsp:cNvPr id="0" name=""/>
        <dsp:cNvSpPr/>
      </dsp:nvSpPr>
      <dsp:spPr>
        <a:xfrm>
          <a:off x="5258829" y="321051"/>
          <a:ext cx="1289745" cy="1289745"/>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3EC277-06DB-409B-BFFD-426B61457455}">
      <dsp:nvSpPr>
        <dsp:cNvPr id="0" name=""/>
        <dsp:cNvSpPr/>
      </dsp:nvSpPr>
      <dsp:spPr>
        <a:xfrm>
          <a:off x="5529676" y="591897"/>
          <a:ext cx="748052" cy="748052"/>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FA40C36E-9259-4810-A748-13A8EB9D4C30}">
      <dsp:nvSpPr>
        <dsp:cNvPr id="0" name=""/>
        <dsp:cNvSpPr/>
      </dsp:nvSpPr>
      <dsp:spPr>
        <a:xfrm>
          <a:off x="6824948" y="321051"/>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just" defTabSz="622300">
            <a:lnSpc>
              <a:spcPct val="90000"/>
            </a:lnSpc>
            <a:spcBef>
              <a:spcPct val="0"/>
            </a:spcBef>
            <a:spcAft>
              <a:spcPct val="35000"/>
            </a:spcAft>
            <a:buNone/>
          </a:pPr>
          <a:r>
            <a:rPr lang="en-US" sz="1400" kern="1200" dirty="0"/>
            <a:t>Please mention your GLOBAL ID &amp; PF Member ID/UAN while communicating with RETIRALS team, it would be helpful for us to retrieve your data faster.</a:t>
          </a:r>
        </a:p>
      </dsp:txBody>
      <dsp:txXfrm>
        <a:off x="6824948" y="321051"/>
        <a:ext cx="3040113" cy="1289745"/>
      </dsp:txXfrm>
    </dsp:sp>
    <dsp:sp modelId="{13DD35A9-DA57-4FB6-922C-FA542624A585}">
      <dsp:nvSpPr>
        <dsp:cNvPr id="0" name=""/>
        <dsp:cNvSpPr/>
      </dsp:nvSpPr>
      <dsp:spPr>
        <a:xfrm>
          <a:off x="122880" y="2270640"/>
          <a:ext cx="1289745" cy="1289745"/>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E1C57A-64E5-47BD-A581-1C60059F214C}">
      <dsp:nvSpPr>
        <dsp:cNvPr id="0" name=""/>
        <dsp:cNvSpPr/>
      </dsp:nvSpPr>
      <dsp:spPr>
        <a:xfrm>
          <a:off x="393727" y="2541487"/>
          <a:ext cx="748052" cy="748052"/>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B64ABE6A-AF1C-4C59-8F2D-C2AEC052831F}">
      <dsp:nvSpPr>
        <dsp:cNvPr id="0" name=""/>
        <dsp:cNvSpPr/>
      </dsp:nvSpPr>
      <dsp:spPr>
        <a:xfrm>
          <a:off x="1688999" y="2270640"/>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US" sz="1400" kern="1200" dirty="0"/>
            <a:t>Responses turnaround time: 3 Business Days </a:t>
          </a:r>
        </a:p>
      </dsp:txBody>
      <dsp:txXfrm>
        <a:off x="1688999" y="2270640"/>
        <a:ext cx="3040113" cy="1289745"/>
      </dsp:txXfrm>
    </dsp:sp>
    <dsp:sp modelId="{24A2D172-C28C-412F-B6DD-5FABEE895D1A}">
      <dsp:nvSpPr>
        <dsp:cNvPr id="0" name=""/>
        <dsp:cNvSpPr/>
      </dsp:nvSpPr>
      <dsp:spPr>
        <a:xfrm>
          <a:off x="5258829" y="2270640"/>
          <a:ext cx="1289745" cy="1289745"/>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C86ADA-4598-4147-806B-0AE88D71B27B}">
      <dsp:nvSpPr>
        <dsp:cNvPr id="0" name=""/>
        <dsp:cNvSpPr/>
      </dsp:nvSpPr>
      <dsp:spPr>
        <a:xfrm>
          <a:off x="5529676" y="2541487"/>
          <a:ext cx="748052" cy="748052"/>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BD7542E5-A407-4E02-9765-3C3DA0208470}">
      <dsp:nvSpPr>
        <dsp:cNvPr id="0" name=""/>
        <dsp:cNvSpPr/>
      </dsp:nvSpPr>
      <dsp:spPr>
        <a:xfrm>
          <a:off x="6824948" y="2270640"/>
          <a:ext cx="3040113" cy="1289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just" defTabSz="622300">
            <a:lnSpc>
              <a:spcPct val="90000"/>
            </a:lnSpc>
            <a:spcBef>
              <a:spcPct val="0"/>
            </a:spcBef>
            <a:spcAft>
              <a:spcPct val="35000"/>
            </a:spcAft>
            <a:buNone/>
          </a:pPr>
          <a:r>
            <a:rPr lang="en-US" sz="1400" kern="1200" dirty="0"/>
            <a:t>Do not change subject line &amp; request you to wait for the resolution in order to avoid reminders on the same query.</a:t>
          </a:r>
          <a:br>
            <a:rPr lang="en-US" sz="1400" kern="1200" dirty="0"/>
          </a:br>
          <a:endParaRPr lang="en-US" sz="1400" kern="1200" dirty="0"/>
        </a:p>
      </dsp:txBody>
      <dsp:txXfrm>
        <a:off x="6824948" y="2270640"/>
        <a:ext cx="3040113" cy="128974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1/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1/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1171516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hyperlink" Target="http://www.twitter.com/capgemini"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3"/>
          </p:cNvPr>
          <p:cNvPicPr>
            <a:picLocks noChangeAspect="1" noChangeArrowheads="1"/>
          </p:cNvPicPr>
          <p:nvPr/>
        </p:nvPicPr>
        <p:blipFill>
          <a:blip r:embed="rId4" cstate="print"/>
          <a:srcRect/>
          <a:stretch>
            <a:fillRect/>
          </a:stretch>
        </p:blipFill>
        <p:spPr bwMode="auto">
          <a:xfrm>
            <a:off x="426720" y="4968013"/>
            <a:ext cx="333195" cy="333195"/>
          </a:xfrm>
          <a:prstGeom prst="rect">
            <a:avLst/>
          </a:prstGeom>
          <a:noFill/>
        </p:spPr>
      </p:pic>
      <p:pic>
        <p:nvPicPr>
          <p:cNvPr id="17" name="Picture 2" descr="LinkedIn">
            <a:hlinkClick r:id="rId5"/>
          </p:cNvPr>
          <p:cNvPicPr>
            <a:picLocks noChangeAspect="1" noChangeArrowheads="1"/>
          </p:cNvPicPr>
          <p:nvPr/>
        </p:nvPicPr>
        <p:blipFill>
          <a:blip r:embed="rId6" cstate="print"/>
          <a:srcRect/>
          <a:stretch>
            <a:fillRect/>
          </a:stretch>
        </p:blipFill>
        <p:spPr bwMode="auto">
          <a:xfrm>
            <a:off x="810097" y="4968013"/>
            <a:ext cx="333195" cy="333195"/>
          </a:xfrm>
          <a:prstGeom prst="rect">
            <a:avLst/>
          </a:prstGeom>
          <a:noFill/>
        </p:spPr>
      </p:pic>
      <p:pic>
        <p:nvPicPr>
          <p:cNvPr id="18" name="Picture 4" descr="SlideShare">
            <a:hlinkClick r:id="rId7"/>
          </p:cNvPr>
          <p:cNvPicPr>
            <a:picLocks noChangeAspect="1" noChangeArrowheads="1"/>
          </p:cNvPicPr>
          <p:nvPr/>
        </p:nvPicPr>
        <p:blipFill>
          <a:blip r:embed="rId8" cstate="print"/>
          <a:srcRect/>
          <a:stretch>
            <a:fillRect/>
          </a:stretch>
        </p:blipFill>
        <p:spPr bwMode="auto">
          <a:xfrm>
            <a:off x="1193474" y="4968013"/>
            <a:ext cx="333195" cy="333195"/>
          </a:xfrm>
          <a:prstGeom prst="rect">
            <a:avLst/>
          </a:prstGeom>
          <a:noFill/>
        </p:spPr>
      </p:pic>
      <p:pic>
        <p:nvPicPr>
          <p:cNvPr id="19" name="Picture 5" descr="Twitter">
            <a:hlinkClick r:id="rId9"/>
          </p:cNvPr>
          <p:cNvPicPr>
            <a:picLocks noChangeAspect="1" noChangeArrowheads="1"/>
          </p:cNvPicPr>
          <p:nvPr/>
        </p:nvPicPr>
        <p:blipFill>
          <a:blip r:embed="rId10" cstate="print"/>
          <a:srcRect/>
          <a:stretch>
            <a:fillRect/>
          </a:stretch>
        </p:blipFill>
        <p:spPr bwMode="auto">
          <a:xfrm>
            <a:off x="1576851" y="4968013"/>
            <a:ext cx="333195" cy="333195"/>
          </a:xfrm>
          <a:prstGeom prst="rect">
            <a:avLst/>
          </a:prstGeom>
          <a:noFill/>
        </p:spPr>
      </p:pic>
      <p:pic>
        <p:nvPicPr>
          <p:cNvPr id="20" name="Picture 6" descr="YouTube">
            <a:hlinkClick r:id="rId11"/>
          </p:cNvPr>
          <p:cNvPicPr>
            <a:picLocks noChangeAspect="1" noChangeArrowheads="1"/>
          </p:cNvPicPr>
          <p:nvPr userDrawn="1"/>
        </p:nvPicPr>
        <p:blipFill>
          <a:blip r:embed="rId12"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2 Capgemini. All rights reserved.</a:t>
            </a:r>
          </a:p>
        </p:txBody>
      </p:sp>
      <p:grpSp>
        <p:nvGrpSpPr>
          <p:cNvPr id="10" name="Group 9">
            <a:extLst>
              <a:ext uri="{FF2B5EF4-FFF2-40B4-BE49-F238E27FC236}">
                <a16:creationId xmlns:a16="http://schemas.microsoft.com/office/drawing/2014/main" id="{D2BF7E9C-FD5C-450A-A1FB-17FC5765ED64}"/>
              </a:ext>
            </a:extLst>
          </p:cNvPr>
          <p:cNvGrpSpPr>
            <a:grpSpLocks noChangeAspect="1"/>
          </p:cNvGrpSpPr>
          <p:nvPr userDrawn="1"/>
        </p:nvGrpSpPr>
        <p:grpSpPr>
          <a:xfrm>
            <a:off x="411020" y="984393"/>
            <a:ext cx="2231297" cy="501650"/>
            <a:chOff x="9550400" y="612775"/>
            <a:chExt cx="2231297" cy="501650"/>
          </a:xfrm>
        </p:grpSpPr>
        <p:sp>
          <p:nvSpPr>
            <p:cNvPr id="11" name="Freeform: Shape 10">
              <a:extLst>
                <a:ext uri="{FF2B5EF4-FFF2-40B4-BE49-F238E27FC236}">
                  <a16:creationId xmlns:a16="http://schemas.microsoft.com/office/drawing/2014/main" id="{DD26A2F9-4026-4DA7-B00A-AE48A8B0CD4D}"/>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0DCE7524-34A1-429B-91AD-74BE1F944E0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4" name="Freeform: Shape 13">
              <a:extLst>
                <a:ext uri="{FF2B5EF4-FFF2-40B4-BE49-F238E27FC236}">
                  <a16:creationId xmlns:a16="http://schemas.microsoft.com/office/drawing/2014/main" id="{0F68A571-28DB-453F-861D-36D50723ED4D}"/>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5" name="Freeform: Shape 14">
              <a:extLst>
                <a:ext uri="{FF2B5EF4-FFF2-40B4-BE49-F238E27FC236}">
                  <a16:creationId xmlns:a16="http://schemas.microsoft.com/office/drawing/2014/main" id="{923DB0AA-5015-4FEA-A32D-44257CF2BED3}"/>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6" name="Freeform: Shape 15">
              <a:extLst>
                <a:ext uri="{FF2B5EF4-FFF2-40B4-BE49-F238E27FC236}">
                  <a16:creationId xmlns:a16="http://schemas.microsoft.com/office/drawing/2014/main" id="{3E8CD59B-E3D8-4E45-86AA-3D0BB06038CE}"/>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89736664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1/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604222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1/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479673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1/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461194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293557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
        <p:nvSpPr>
          <p:cNvPr id="5" name="Date Placeholder 4"/>
          <p:cNvSpPr>
            <a:spLocks noGrp="1"/>
          </p:cNvSpPr>
          <p:nvPr>
            <p:ph type="dt" sz="half" idx="10"/>
          </p:nvPr>
        </p:nvSpPr>
        <p:spPr/>
        <p:txBody>
          <a:bodyPr/>
          <a:lstStyle/>
          <a:p>
            <a:fld id="{48A87A34-81AB-432B-8DAE-1953F412C126}" type="datetimeFigureOut">
              <a:rPr lang="en-US" smtClean="0"/>
              <a:t>1/12/2024</a:t>
            </a:fld>
            <a:endParaRPr lang="en-US"/>
          </a:p>
        </p:txBody>
      </p:sp>
    </p:spTree>
    <p:extLst>
      <p:ext uri="{BB962C8B-B14F-4D97-AF65-F5344CB8AC3E}">
        <p14:creationId xmlns:p14="http://schemas.microsoft.com/office/powerpoint/2010/main" val="1881801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726425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8239597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9508798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055601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a:p>
        </p:txBody>
      </p:sp>
    </p:spTree>
    <p:extLst>
      <p:ext uri="{BB962C8B-B14F-4D97-AF65-F5344CB8AC3E}">
        <p14:creationId xmlns:p14="http://schemas.microsoft.com/office/powerpoint/2010/main" val="1603859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0754139" cy="5575852"/>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472295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4016337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0366639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78072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832985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5788232" cy="5715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6" name="Group 5">
            <a:extLst>
              <a:ext uri="{FF2B5EF4-FFF2-40B4-BE49-F238E27FC236}">
                <a16:creationId xmlns:a16="http://schemas.microsoft.com/office/drawing/2014/main" id="{138C36DE-BE7C-4EA8-8C11-63DF35071C75}"/>
              </a:ext>
            </a:extLst>
          </p:cNvPr>
          <p:cNvGrpSpPr>
            <a:grpSpLocks noChangeAspect="1"/>
          </p:cNvGrpSpPr>
          <p:nvPr userDrawn="1"/>
        </p:nvGrpSpPr>
        <p:grpSpPr>
          <a:xfrm>
            <a:off x="476900" y="611982"/>
            <a:ext cx="2267015" cy="509586"/>
            <a:chOff x="9550400" y="612775"/>
            <a:chExt cx="2231297" cy="501650"/>
          </a:xfrm>
        </p:grpSpPr>
        <p:sp>
          <p:nvSpPr>
            <p:cNvPr id="8" name="Freeform: Shape 7">
              <a:extLst>
                <a:ext uri="{FF2B5EF4-FFF2-40B4-BE49-F238E27FC236}">
                  <a16:creationId xmlns:a16="http://schemas.microsoft.com/office/drawing/2014/main" id="{F832A913-EBD0-4A52-9BC5-C515E20AA2D2}"/>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6C7C00F4-BABA-40DB-9C59-16A7B33536DE}"/>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1" name="Freeform: Shape 10">
              <a:extLst>
                <a:ext uri="{FF2B5EF4-FFF2-40B4-BE49-F238E27FC236}">
                  <a16:creationId xmlns:a16="http://schemas.microsoft.com/office/drawing/2014/main" id="{06629252-ADFC-4FC9-85E5-6800A45F303B}"/>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9DB5264D-26DE-4A16-881C-0B8EE6975DF9}"/>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3" name="Freeform: Shape 12">
              <a:extLst>
                <a:ext uri="{FF2B5EF4-FFF2-40B4-BE49-F238E27FC236}">
                  <a16:creationId xmlns:a16="http://schemas.microsoft.com/office/drawing/2014/main" id="{1478FE54-3447-4979-8CE3-A274C8BD5A44}"/>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297025104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userDrawn="1"/>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en-US"/>
              <a:t>Click to edit Master title styl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8EDD86A9-A101-4431-BC7F-D7A613B745EB}"/>
              </a:ext>
            </a:extLst>
          </p:cNvPr>
          <p:cNvGrpSpPr>
            <a:grpSpLocks noChangeAspect="1"/>
          </p:cNvGrpSpPr>
          <p:nvPr userDrawn="1"/>
        </p:nvGrpSpPr>
        <p:grpSpPr>
          <a:xfrm>
            <a:off x="9422540" y="611982"/>
            <a:ext cx="2267015" cy="509586"/>
            <a:chOff x="9550400" y="612775"/>
            <a:chExt cx="2231297" cy="501650"/>
          </a:xfrm>
        </p:grpSpPr>
        <p:sp>
          <p:nvSpPr>
            <p:cNvPr id="8" name="Freeform: Shape 7">
              <a:extLst>
                <a:ext uri="{FF2B5EF4-FFF2-40B4-BE49-F238E27FC236}">
                  <a16:creationId xmlns:a16="http://schemas.microsoft.com/office/drawing/2014/main" id="{92E5232F-44F9-4DA7-8CAF-37E7E772B19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ED6443D4-9252-4F48-B3B1-DE1F07A5D421}"/>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dirty="0"/>
            </a:p>
          </p:txBody>
        </p:sp>
        <p:sp>
          <p:nvSpPr>
            <p:cNvPr id="10" name="Freeform: Shape 9">
              <a:extLst>
                <a:ext uri="{FF2B5EF4-FFF2-40B4-BE49-F238E27FC236}">
                  <a16:creationId xmlns:a16="http://schemas.microsoft.com/office/drawing/2014/main" id="{00D6E549-1EDB-4087-A87E-246AD0B86307}"/>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9B59D2B6-7CA0-4DD1-ACF9-FE9B371E6A4B}"/>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D752C13A-0707-4DB7-BEE5-11C70CC4104C}"/>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182521854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grpSp>
        <p:nvGrpSpPr>
          <p:cNvPr id="6" name="Group 5">
            <a:extLst>
              <a:ext uri="{FF2B5EF4-FFF2-40B4-BE49-F238E27FC236}">
                <a16:creationId xmlns:a16="http://schemas.microsoft.com/office/drawing/2014/main" id="{53E1ECB5-DB51-4283-B8B9-FBB99B30DDDA}"/>
              </a:ext>
            </a:extLst>
          </p:cNvPr>
          <p:cNvGrpSpPr>
            <a:grpSpLocks noChangeAspect="1"/>
          </p:cNvGrpSpPr>
          <p:nvPr userDrawn="1"/>
        </p:nvGrpSpPr>
        <p:grpSpPr>
          <a:xfrm>
            <a:off x="516023" y="622911"/>
            <a:ext cx="2231297" cy="501650"/>
            <a:chOff x="9550400" y="612775"/>
            <a:chExt cx="2231297" cy="501650"/>
          </a:xfrm>
        </p:grpSpPr>
        <p:sp>
          <p:nvSpPr>
            <p:cNvPr id="8" name="Freeform: Shape 7">
              <a:extLst>
                <a:ext uri="{FF2B5EF4-FFF2-40B4-BE49-F238E27FC236}">
                  <a16:creationId xmlns:a16="http://schemas.microsoft.com/office/drawing/2014/main" id="{648307B4-0823-4CCD-9A0B-FC8313B6A1CE}"/>
                </a:ext>
              </a:extLst>
            </p:cNvPr>
            <p:cNvSpPr/>
            <p:nvPr/>
          </p:nvSpPr>
          <p:spPr>
            <a:xfrm>
              <a:off x="11517270" y="764033"/>
              <a:ext cx="261161" cy="212194"/>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9" name="Freeform: Shape 8">
              <a:extLst>
                <a:ext uri="{FF2B5EF4-FFF2-40B4-BE49-F238E27FC236}">
                  <a16:creationId xmlns:a16="http://schemas.microsoft.com/office/drawing/2014/main" id="{0EF37526-68C2-4CC7-BFA8-D9A1ECDD5F86}"/>
                </a:ext>
              </a:extLst>
            </p:cNvPr>
            <p:cNvSpPr/>
            <p:nvPr/>
          </p:nvSpPr>
          <p:spPr>
            <a:xfrm>
              <a:off x="9550400" y="619305"/>
              <a:ext cx="1811806" cy="495120"/>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0" name="Freeform: Shape 9">
              <a:extLst>
                <a:ext uri="{FF2B5EF4-FFF2-40B4-BE49-F238E27FC236}">
                  <a16:creationId xmlns:a16="http://schemas.microsoft.com/office/drawing/2014/main" id="{031D688A-C2B9-40DF-8BDB-7397CB9DF4C1}"/>
                </a:ext>
              </a:extLst>
            </p:cNvPr>
            <p:cNvSpPr/>
            <p:nvPr/>
          </p:nvSpPr>
          <p:spPr>
            <a:xfrm>
              <a:off x="10915493" y="643771"/>
              <a:ext cx="54409" cy="59850"/>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1" name="Freeform: Shape 10">
              <a:extLst>
                <a:ext uri="{FF2B5EF4-FFF2-40B4-BE49-F238E27FC236}">
                  <a16:creationId xmlns:a16="http://schemas.microsoft.com/office/drawing/2014/main" id="{808CDC8B-4E52-45D7-922E-07333CE529A6}"/>
                </a:ext>
              </a:extLst>
            </p:cNvPr>
            <p:cNvSpPr/>
            <p:nvPr/>
          </p:nvSpPr>
          <p:spPr>
            <a:xfrm>
              <a:off x="11270254" y="654106"/>
              <a:ext cx="54409" cy="54409"/>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12" name="Freeform: Shape 11">
              <a:extLst>
                <a:ext uri="{FF2B5EF4-FFF2-40B4-BE49-F238E27FC236}">
                  <a16:creationId xmlns:a16="http://schemas.microsoft.com/office/drawing/2014/main" id="{8515A298-0196-4231-B123-8DDB35B79DA6}"/>
                </a:ext>
              </a:extLst>
            </p:cNvPr>
            <p:cNvSpPr/>
            <p:nvPr/>
          </p:nvSpPr>
          <p:spPr>
            <a:xfrm>
              <a:off x="11384515" y="612775"/>
              <a:ext cx="397182" cy="331893"/>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spTree>
    <p:extLst>
      <p:ext uri="{BB962C8B-B14F-4D97-AF65-F5344CB8AC3E}">
        <p14:creationId xmlns:p14="http://schemas.microsoft.com/office/powerpoint/2010/main" val="408107429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0664749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965705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896227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1/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23444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9" name="Rectangle 43">
            <a:extLst>
              <a:ext uri="{FF2B5EF4-FFF2-40B4-BE49-F238E27FC236}">
                <a16:creationId xmlns:a16="http://schemas.microsoft.com/office/drawing/2014/main" id="{1302EB1D-4F45-4228-A725-9CA0AEFCE01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3984" r:id="rId1"/>
    <p:sldLayoutId id="2147483983" r:id="rId2"/>
    <p:sldLayoutId id="2147483964" r:id="rId3"/>
    <p:sldLayoutId id="2147483963" r:id="rId4"/>
    <p:sldLayoutId id="2147484223" r:id="rId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2/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76646985"/>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 id="2147484215" r:id="rId11"/>
    <p:sldLayoutId id="2147484216" r:id="rId12"/>
    <p:sldLayoutId id="2147484217" r:id="rId13"/>
    <p:sldLayoutId id="2147484218" r:id="rId14"/>
    <p:sldLayoutId id="2147484219" r:id="rId15"/>
    <p:sldLayoutId id="2147484220" r:id="rId16"/>
    <p:sldLayoutId id="2147484221" r:id="rId17"/>
    <p:sldLayoutId id="2147484222" r:id="rId18"/>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jpe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hyperlink" Target="https://unifiedportal-mem.epfindia.gov.in/memberinterface/" TargetMode="External"/><Relationship Id="rId1" Type="http://schemas.openxmlformats.org/officeDocument/2006/relationships/slideLayout" Target="../slideLayouts/slideLayout2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1.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diagramLayout" Target="../diagrams/layout3.xml"/><Relationship Id="rId7" Type="http://schemas.openxmlformats.org/officeDocument/2006/relationships/oleObject" Target="../embeddings/oleObject3.bin"/><Relationship Id="rId2" Type="http://schemas.openxmlformats.org/officeDocument/2006/relationships/diagramData" Target="../diagrams/data3.xml"/><Relationship Id="rId1" Type="http://schemas.openxmlformats.org/officeDocument/2006/relationships/slideLayout" Target="../slideLayouts/slideLayout2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oleObject" Target="../embeddings/oleObject4.bin"/><Relationship Id="rId7" Type="http://schemas.openxmlformats.org/officeDocument/2006/relationships/oleObject" Target="../embeddings/oleObject6.bin"/><Relationship Id="rId12" Type="http://schemas.openxmlformats.org/officeDocument/2006/relationships/image" Target="../media/image22.svg"/><Relationship Id="rId2" Type="http://schemas.openxmlformats.org/officeDocument/2006/relationships/hyperlink" Target="https://unifiedportal-mem.epfindia.gov.in/memberinterface/" TargetMode="External"/><Relationship Id="rId1" Type="http://schemas.openxmlformats.org/officeDocument/2006/relationships/slideLayout" Target="../slideLayouts/slideLayout22.xml"/><Relationship Id="rId6" Type="http://schemas.openxmlformats.org/officeDocument/2006/relationships/image" Target="../media/image18.emf"/><Relationship Id="rId11" Type="http://schemas.openxmlformats.org/officeDocument/2006/relationships/image" Target="../media/image21.png"/><Relationship Id="rId5" Type="http://schemas.openxmlformats.org/officeDocument/2006/relationships/oleObject" Target="../embeddings/oleObject5.bin"/><Relationship Id="rId10" Type="http://schemas.openxmlformats.org/officeDocument/2006/relationships/image" Target="../media/image20.emf"/><Relationship Id="rId4" Type="http://schemas.openxmlformats.org/officeDocument/2006/relationships/image" Target="../media/image17.emf"/><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2.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FFDAD81-0B9E-4976-96A1-3248CF9CD1D6}"/>
              </a:ext>
              <a:ext uri="{C183D7F6-B498-43B3-948B-1728B52AA6E4}">
                <adec:decorative xmlns:adec="http://schemas.microsoft.com/office/drawing/2017/decorative" val="1"/>
              </a:ext>
            </a:extLst>
          </p:cNvPr>
          <p:cNvPicPr preferRelativeResize="0">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a:xfrm>
            <a:off x="5303838" y="0"/>
            <a:ext cx="6868702" cy="6858000"/>
          </a:xfrm>
        </p:spPr>
      </p:pic>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178468"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274185" y="2897065"/>
            <a:ext cx="4699749" cy="747897"/>
          </a:xfrm>
        </p:spPr>
        <p:txBody>
          <a:bodyPr/>
          <a:lstStyle/>
          <a:p>
            <a:r>
              <a:rPr lang="en-US" sz="5400" dirty="0"/>
              <a:t>RETIRALS</a:t>
            </a:r>
            <a:endParaRPr lang="en-GB" sz="5400" dirty="0"/>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GB" dirty="0"/>
              <a:t>EXIT ORIENTATION SESSION</a:t>
            </a:r>
          </a:p>
        </p:txBody>
      </p:sp>
    </p:spTree>
    <p:extLst>
      <p:ext uri="{BB962C8B-B14F-4D97-AF65-F5344CB8AC3E}">
        <p14:creationId xmlns:p14="http://schemas.microsoft.com/office/powerpoint/2010/main" val="2101722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E145C2F-A0DD-4F4A-BD52-DA73B446C7CA}"/>
              </a:ext>
            </a:extLst>
          </p:cNvPr>
          <p:cNvSpPr txBox="1">
            <a:spLocks/>
          </p:cNvSpPr>
          <p:nvPr/>
        </p:nvSpPr>
        <p:spPr>
          <a:xfrm>
            <a:off x="417828" y="304799"/>
            <a:ext cx="3654442" cy="322521"/>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u="sng" dirty="0"/>
              <a:t>PROVIDENT FUND - FAQ</a:t>
            </a:r>
          </a:p>
        </p:txBody>
      </p:sp>
      <p:graphicFrame>
        <p:nvGraphicFramePr>
          <p:cNvPr id="7" name="Diagram 6">
            <a:extLst>
              <a:ext uri="{FF2B5EF4-FFF2-40B4-BE49-F238E27FC236}">
                <a16:creationId xmlns:a16="http://schemas.microsoft.com/office/drawing/2014/main" id="{9BFAB69D-C46E-3DB7-FB99-3D11114591B1}"/>
              </a:ext>
            </a:extLst>
          </p:cNvPr>
          <p:cNvGraphicFramePr/>
          <p:nvPr>
            <p:extLst>
              <p:ext uri="{D42A27DB-BD31-4B8C-83A1-F6EECF244321}">
                <p14:modId xmlns:p14="http://schemas.microsoft.com/office/powerpoint/2010/main" val="2352834717"/>
              </p:ext>
            </p:extLst>
          </p:nvPr>
        </p:nvGraphicFramePr>
        <p:xfrm>
          <a:off x="272143" y="1134534"/>
          <a:ext cx="1146265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0539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E145C2F-A0DD-4F4A-BD52-DA73B446C7CA}"/>
              </a:ext>
            </a:extLst>
          </p:cNvPr>
          <p:cNvSpPr txBox="1">
            <a:spLocks/>
          </p:cNvSpPr>
          <p:nvPr/>
        </p:nvSpPr>
        <p:spPr>
          <a:xfrm>
            <a:off x="417828" y="304800"/>
            <a:ext cx="3505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u="sng" dirty="0"/>
              <a:t>GRATUITY FUND- FAQ</a:t>
            </a:r>
          </a:p>
        </p:txBody>
      </p:sp>
      <p:graphicFrame>
        <p:nvGraphicFramePr>
          <p:cNvPr id="7" name="Diagram 6">
            <a:extLst>
              <a:ext uri="{FF2B5EF4-FFF2-40B4-BE49-F238E27FC236}">
                <a16:creationId xmlns:a16="http://schemas.microsoft.com/office/drawing/2014/main" id="{9BFAB69D-C46E-3DB7-FB99-3D11114591B1}"/>
              </a:ext>
            </a:extLst>
          </p:cNvPr>
          <p:cNvGraphicFramePr/>
          <p:nvPr>
            <p:extLst>
              <p:ext uri="{D42A27DB-BD31-4B8C-83A1-F6EECF244321}">
                <p14:modId xmlns:p14="http://schemas.microsoft.com/office/powerpoint/2010/main" val="3832724015"/>
              </p:ext>
            </p:extLst>
          </p:nvPr>
        </p:nvGraphicFramePr>
        <p:xfrm>
          <a:off x="712381" y="1134533"/>
          <a:ext cx="1057939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253442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920209C-E85B-4D6F-A56F-724F5ADA81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6" name="Straight Connector 15">
              <a:extLst>
                <a:ext uri="{FF2B5EF4-FFF2-40B4-BE49-F238E27FC236}">
                  <a16:creationId xmlns:a16="http://schemas.microsoft.com/office/drawing/2014/main" id="{9125522E-1DFD-4F78-912B-B922A2D39DA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DA72C10-FE9D-49B3-80CB-A7EE8BCB38F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8" name="Rectangle 23">
              <a:extLst>
                <a:ext uri="{FF2B5EF4-FFF2-40B4-BE49-F238E27FC236}">
                  <a16:creationId xmlns:a16="http://schemas.microsoft.com/office/drawing/2014/main" id="{6E7DF470-1055-45E4-AB9D-11E42EC538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25">
              <a:extLst>
                <a:ext uri="{FF2B5EF4-FFF2-40B4-BE49-F238E27FC236}">
                  <a16:creationId xmlns:a16="http://schemas.microsoft.com/office/drawing/2014/main" id="{6AA35CFF-3837-4B7F-B875-718AC2E14EE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Isosceles Triangle 19">
              <a:extLst>
                <a:ext uri="{FF2B5EF4-FFF2-40B4-BE49-F238E27FC236}">
                  <a16:creationId xmlns:a16="http://schemas.microsoft.com/office/drawing/2014/main" id="{62F41804-A347-47E3-8BD8-BD00CF2F64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27">
              <a:extLst>
                <a:ext uri="{FF2B5EF4-FFF2-40B4-BE49-F238E27FC236}">
                  <a16:creationId xmlns:a16="http://schemas.microsoft.com/office/drawing/2014/main" id="{76894B81-EE9C-4546-BCFA-DD9ED2C0AD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8">
              <a:extLst>
                <a:ext uri="{FF2B5EF4-FFF2-40B4-BE49-F238E27FC236}">
                  <a16:creationId xmlns:a16="http://schemas.microsoft.com/office/drawing/2014/main" id="{3AF181D1-71AC-43D8-A6E1-D4C488D5DC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9">
              <a:extLst>
                <a:ext uri="{FF2B5EF4-FFF2-40B4-BE49-F238E27FC236}">
                  <a16:creationId xmlns:a16="http://schemas.microsoft.com/office/drawing/2014/main" id="{4132D661-917C-4D2D-8E37-8590B55D91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a:extLst>
                <a:ext uri="{FF2B5EF4-FFF2-40B4-BE49-F238E27FC236}">
                  <a16:creationId xmlns:a16="http://schemas.microsoft.com/office/drawing/2014/main" id="{7969643D-8B71-434D-A235-68CB241F9DC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Isosceles Triangle 24">
              <a:extLst>
                <a:ext uri="{FF2B5EF4-FFF2-40B4-BE49-F238E27FC236}">
                  <a16:creationId xmlns:a16="http://schemas.microsoft.com/office/drawing/2014/main" id="{DF15C24A-4BCF-47C0-B2FA-76A0EF3384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3" name="Title 1">
            <a:extLst>
              <a:ext uri="{FF2B5EF4-FFF2-40B4-BE49-F238E27FC236}">
                <a16:creationId xmlns:a16="http://schemas.microsoft.com/office/drawing/2014/main" id="{1E145C2F-A0DD-4F4A-BD52-DA73B446C7CA}"/>
              </a:ext>
            </a:extLst>
          </p:cNvPr>
          <p:cNvSpPr txBox="1">
            <a:spLocks/>
          </p:cNvSpPr>
          <p:nvPr/>
        </p:nvSpPr>
        <p:spPr>
          <a:xfrm>
            <a:off x="677334" y="609600"/>
            <a:ext cx="8596668"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b="1" u="sng">
                <a:solidFill>
                  <a:schemeClr val="accent1"/>
                </a:solidFill>
              </a:rPr>
              <a:t>Contact details - RETIRALS</a:t>
            </a:r>
          </a:p>
        </p:txBody>
      </p:sp>
      <p:graphicFrame>
        <p:nvGraphicFramePr>
          <p:cNvPr id="10" name="TextBox 3">
            <a:extLst>
              <a:ext uri="{FF2B5EF4-FFF2-40B4-BE49-F238E27FC236}">
                <a16:creationId xmlns:a16="http://schemas.microsoft.com/office/drawing/2014/main" id="{3F8BFFEF-0089-80F5-06B7-1F0EE7ACA4BE}"/>
              </a:ext>
            </a:extLst>
          </p:cNvPr>
          <p:cNvGraphicFramePr/>
          <p:nvPr>
            <p:extLst>
              <p:ext uri="{D42A27DB-BD31-4B8C-83A1-F6EECF244321}">
                <p14:modId xmlns:p14="http://schemas.microsoft.com/office/powerpoint/2010/main" val="4083582313"/>
              </p:ext>
            </p:extLst>
          </p:nvPr>
        </p:nvGraphicFramePr>
        <p:xfrm>
          <a:off x="602269" y="1740694"/>
          <a:ext cx="9987943" cy="3881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69073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2578100" y="2779604"/>
            <a:ext cx="8547100" cy="86177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THANK YOU</a:t>
            </a:r>
          </a:p>
        </p:txBody>
      </p:sp>
    </p:spTree>
    <p:extLst>
      <p:ext uri="{BB962C8B-B14F-4D97-AF65-F5344CB8AC3E}">
        <p14:creationId xmlns:p14="http://schemas.microsoft.com/office/powerpoint/2010/main" val="1416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hape 02-Vibrant Blue">
            <a:extLst>
              <a:ext uri="{FF2B5EF4-FFF2-40B4-BE49-F238E27FC236}">
                <a16:creationId xmlns:a16="http://schemas.microsoft.com/office/drawing/2014/main" id="{82321FBA-9126-4CE3-85AE-F46EBAC0B1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771" y="1001031"/>
            <a:ext cx="8816231" cy="4210732"/>
          </a:xfrm>
          <a:prstGeom prst="rect">
            <a:avLst/>
          </a:prstGeom>
        </p:spPr>
      </p:pic>
      <p:sp>
        <p:nvSpPr>
          <p:cNvPr id="3" name="Text Placeholder 2">
            <a:extLst>
              <a:ext uri="{FF2B5EF4-FFF2-40B4-BE49-F238E27FC236}">
                <a16:creationId xmlns:a16="http://schemas.microsoft.com/office/drawing/2014/main" id="{F84584AC-DBBE-4B47-9A7E-7A7C2D8CF196}"/>
              </a:ext>
            </a:extLst>
          </p:cNvPr>
          <p:cNvSpPr>
            <a:spLocks noGrp="1"/>
          </p:cNvSpPr>
          <p:nvPr>
            <p:ph type="title" idx="4294967295"/>
          </p:nvPr>
        </p:nvSpPr>
        <p:spPr>
          <a:xfrm>
            <a:off x="3644900" y="1644650"/>
            <a:ext cx="8547100" cy="35671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8000" b="1" i="0" u="none" strike="noStrike" kern="1200" cap="all" spc="0" normalizeH="0" baseline="0" noProof="0" dirty="0">
                <a:ln>
                  <a:noFill/>
                </a:ln>
                <a:solidFill>
                  <a:schemeClr val="bg1"/>
                </a:solidFill>
                <a:effectLst/>
                <a:uLnTx/>
                <a:uFillTx/>
                <a:latin typeface="+mn-lt"/>
                <a:ea typeface="+mn-ea"/>
                <a:cs typeface="+mn-cs"/>
              </a:rPr>
              <a:t>GET TH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FUTURE</a:t>
            </a:r>
            <a:br>
              <a:rPr kumimoji="0" lang="en-GB" sz="8000" b="1" i="0" u="none" strike="noStrike" kern="1200" cap="all" spc="0" normalizeH="0" baseline="0" noProof="0" dirty="0">
                <a:ln>
                  <a:noFill/>
                </a:ln>
                <a:solidFill>
                  <a:schemeClr val="bg1"/>
                </a:solidFill>
                <a:effectLst/>
                <a:uLnTx/>
                <a:uFillTx/>
                <a:latin typeface="+mn-lt"/>
                <a:ea typeface="+mn-ea"/>
                <a:cs typeface="+mn-cs"/>
              </a:rPr>
            </a:br>
            <a:r>
              <a:rPr kumimoji="0" lang="en-GB" sz="8000" b="1" i="0" u="none" strike="noStrike" kern="1200" cap="all" spc="0" normalizeH="0" baseline="0" noProof="0" dirty="0">
                <a:ln>
                  <a:noFill/>
                </a:ln>
                <a:solidFill>
                  <a:schemeClr val="bg1"/>
                </a:solidFill>
                <a:effectLst/>
                <a:uLnTx/>
                <a:uFillTx/>
                <a:latin typeface="+mn-lt"/>
                <a:ea typeface="+mn-ea"/>
                <a:cs typeface="+mn-cs"/>
              </a:rPr>
              <a:t>	YOU WANT</a:t>
            </a:r>
          </a:p>
        </p:txBody>
      </p:sp>
    </p:spTree>
    <p:extLst>
      <p:ext uri="{BB962C8B-B14F-4D97-AF65-F5344CB8AC3E}">
        <p14:creationId xmlns:p14="http://schemas.microsoft.com/office/powerpoint/2010/main" val="173677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E1D47607-D621-4ECE-7E3E-CA986270B22E}"/>
              </a:ext>
              <a:ext uri="{C183D7F6-B498-43B3-948B-1728B52AA6E4}">
                <adec:decorative xmlns:adec="http://schemas.microsoft.com/office/drawing/2017/decorative" val="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9" name="Rectangle 8">
            <a:extLst>
              <a:ext uri="{FF2B5EF4-FFF2-40B4-BE49-F238E27FC236}">
                <a16:creationId xmlns:a16="http://schemas.microsoft.com/office/drawing/2014/main" id="{CF1962CF-EF97-412C-B792-066A1C9D2733}"/>
              </a:ext>
              <a:ext uri="{C183D7F6-B498-43B3-948B-1728B52AA6E4}">
                <adec:decorative xmlns:adec="http://schemas.microsoft.com/office/drawing/2017/decorative" val="1"/>
              </a:ext>
            </a:extLst>
          </p:cNvPr>
          <p:cNvSpPr/>
          <p:nvPr/>
        </p:nvSpPr>
        <p:spPr bwMode="white">
          <a:xfrm>
            <a:off x="1624995" y="0"/>
            <a:ext cx="4563421" cy="6859720"/>
          </a:xfrm>
          <a:prstGeom prst="rect">
            <a:avLst/>
          </a:prstGeom>
          <a:solidFill>
            <a:srgbClr val="272936">
              <a:alpha val="7813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49" dirty="0">
              <a:solidFill>
                <a:schemeClr val="tx1"/>
              </a:solidFill>
              <a:latin typeface="+mj-lt"/>
            </a:endParaRPr>
          </a:p>
        </p:txBody>
      </p:sp>
      <p:graphicFrame>
        <p:nvGraphicFramePr>
          <p:cNvPr id="2" name="Diagram 1">
            <a:extLst>
              <a:ext uri="{FF2B5EF4-FFF2-40B4-BE49-F238E27FC236}">
                <a16:creationId xmlns:a16="http://schemas.microsoft.com/office/drawing/2014/main" id="{761C5FF9-9E2E-DBE5-AAF6-A6CA6834A180}"/>
              </a:ext>
            </a:extLst>
          </p:cNvPr>
          <p:cNvGraphicFramePr/>
          <p:nvPr>
            <p:extLst>
              <p:ext uri="{D42A27DB-BD31-4B8C-83A1-F6EECF244321}">
                <p14:modId xmlns:p14="http://schemas.microsoft.com/office/powerpoint/2010/main" val="3583165636"/>
              </p:ext>
            </p:extLst>
          </p:nvPr>
        </p:nvGraphicFramePr>
        <p:xfrm>
          <a:off x="1870647" y="867653"/>
          <a:ext cx="3629558" cy="51226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560091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oup 15">
            <a:extLst>
              <a:ext uri="{FF2B5EF4-FFF2-40B4-BE49-F238E27FC236}">
                <a16:creationId xmlns:a16="http://schemas.microsoft.com/office/drawing/2014/main" id="{1F2B4773-3207-44CC-B7AC-892B7049821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7" name="Straight Connector 16">
              <a:extLst>
                <a:ext uri="{FF2B5EF4-FFF2-40B4-BE49-F238E27FC236}">
                  <a16:creationId xmlns:a16="http://schemas.microsoft.com/office/drawing/2014/main" id="{2B8267CA-A7A5-4E11-9D92-4EAC3DD3E80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83D61B5-C6B4-4A4B-85AD-FEE7A54912C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9" name="Rectangle 23">
              <a:extLst>
                <a:ext uri="{FF2B5EF4-FFF2-40B4-BE49-F238E27FC236}">
                  <a16:creationId xmlns:a16="http://schemas.microsoft.com/office/drawing/2014/main" id="{A0B67FE4-688F-4497-8BFD-157613A697D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Rectangle 25">
              <a:extLst>
                <a:ext uri="{FF2B5EF4-FFF2-40B4-BE49-F238E27FC236}">
                  <a16:creationId xmlns:a16="http://schemas.microsoft.com/office/drawing/2014/main" id="{3BF5BE1A-9BAC-4581-A82B-FD8FE31595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Isosceles Triangle 20">
              <a:extLst>
                <a:ext uri="{FF2B5EF4-FFF2-40B4-BE49-F238E27FC236}">
                  <a16:creationId xmlns:a16="http://schemas.microsoft.com/office/drawing/2014/main" id="{971E5644-6772-414A-8199-E30BFB02A5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7">
              <a:extLst>
                <a:ext uri="{FF2B5EF4-FFF2-40B4-BE49-F238E27FC236}">
                  <a16:creationId xmlns:a16="http://schemas.microsoft.com/office/drawing/2014/main" id="{E8246D50-BB0C-408E-93FD-7B8D63A7F7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a:extLst>
                <a:ext uri="{FF2B5EF4-FFF2-40B4-BE49-F238E27FC236}">
                  <a16:creationId xmlns:a16="http://schemas.microsoft.com/office/drawing/2014/main" id="{AFBC5D22-68C1-44FB-8181-CB84ECAA83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9">
              <a:extLst>
                <a:ext uri="{FF2B5EF4-FFF2-40B4-BE49-F238E27FC236}">
                  <a16:creationId xmlns:a16="http://schemas.microsoft.com/office/drawing/2014/main" id="{FB6D0FCE-FBDB-4655-A1A7-640B1E86B5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24">
              <a:extLst>
                <a:ext uri="{FF2B5EF4-FFF2-40B4-BE49-F238E27FC236}">
                  <a16:creationId xmlns:a16="http://schemas.microsoft.com/office/drawing/2014/main" id="{BC8157DF-FD90-4AD6-B803-3AC0ACD8E6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Isosceles Triangle 25">
              <a:extLst>
                <a:ext uri="{FF2B5EF4-FFF2-40B4-BE49-F238E27FC236}">
                  <a16:creationId xmlns:a16="http://schemas.microsoft.com/office/drawing/2014/main" id="{3548B067-9D63-4D21-92EF-CBC9E6338C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useBgFill="1">
        <p:nvSpPr>
          <p:cNvPr id="28" name="Rectangle 27">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2" name="Isosceles Triangle 31">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Title 1">
            <a:extLst>
              <a:ext uri="{FF2B5EF4-FFF2-40B4-BE49-F238E27FC236}">
                <a16:creationId xmlns:a16="http://schemas.microsoft.com/office/drawing/2014/main" id="{C75BE75B-EF06-4A63-8561-860CAA68F370}"/>
              </a:ext>
            </a:extLst>
          </p:cNvPr>
          <p:cNvSpPr txBox="1">
            <a:spLocks/>
          </p:cNvSpPr>
          <p:nvPr/>
        </p:nvSpPr>
        <p:spPr>
          <a:xfrm>
            <a:off x="316370" y="230954"/>
            <a:ext cx="4980369" cy="1375608"/>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800" u="sng" cap="none" dirty="0">
                <a:ln w="0"/>
                <a:solidFill>
                  <a:schemeClr val="bg1"/>
                </a:solidFill>
                <a:effectLst>
                  <a:outerShdw blurRad="38100" dist="19050" dir="2700000" algn="tl" rotWithShape="0">
                    <a:schemeClr val="dk1">
                      <a:alpha val="40000"/>
                    </a:schemeClr>
                  </a:outerShdw>
                </a:effectLst>
              </a:rPr>
              <a:t>UAN – MEANING &amp; BENEFITS</a:t>
            </a:r>
          </a:p>
        </p:txBody>
      </p:sp>
      <p:sp>
        <p:nvSpPr>
          <p:cNvPr id="6" name="TextBox 5">
            <a:extLst>
              <a:ext uri="{FF2B5EF4-FFF2-40B4-BE49-F238E27FC236}">
                <a16:creationId xmlns:a16="http://schemas.microsoft.com/office/drawing/2014/main" id="{179BB11D-4C98-40D0-9816-79BE6946F7DB}"/>
              </a:ext>
            </a:extLst>
          </p:cNvPr>
          <p:cNvSpPr txBox="1"/>
          <p:nvPr/>
        </p:nvSpPr>
        <p:spPr>
          <a:xfrm>
            <a:off x="673754" y="2160590"/>
            <a:ext cx="3973943" cy="3440110"/>
          </a:xfrm>
          <a:prstGeom prst="rect">
            <a:avLst/>
          </a:prstGeom>
        </p:spPr>
        <p:txBody>
          <a:bodyPr vert="horz" lIns="91440" tIns="45720" rIns="91440" bIns="45720" rtlCol="0">
            <a:normAutofit/>
          </a:bodyPr>
          <a:lstStyle/>
          <a:p>
            <a:pPr lvl="0">
              <a:spcBef>
                <a:spcPts val="1000"/>
              </a:spcBef>
              <a:buClr>
                <a:schemeClr val="accent1"/>
              </a:buClr>
              <a:buSzPct val="80000"/>
              <a:buFont typeface="Wingdings 3" charset="2"/>
              <a:buChar char=""/>
            </a:pPr>
            <a:r>
              <a:rPr lang="en-US" altLang="en-US" b="1" u="sng" dirty="0">
                <a:solidFill>
                  <a:schemeClr val="bg1"/>
                </a:solidFill>
              </a:rPr>
              <a:t>MEANING OF UAN:</a:t>
            </a:r>
            <a:endParaRPr lang="en-US" b="1" u="sng" dirty="0">
              <a:solidFill>
                <a:schemeClr val="bg1"/>
              </a:solidFill>
            </a:endParaRPr>
          </a:p>
          <a:p>
            <a:pPr lvl="0">
              <a:spcBef>
                <a:spcPts val="1000"/>
              </a:spcBef>
              <a:buClr>
                <a:schemeClr val="accent1"/>
              </a:buClr>
              <a:buSzPct val="80000"/>
              <a:buFont typeface="Wingdings 3" charset="2"/>
              <a:buChar char=""/>
            </a:pPr>
            <a:endParaRPr lang="en-US" altLang="en-US" dirty="0">
              <a:solidFill>
                <a:schemeClr val="bg1"/>
              </a:solidFill>
            </a:endParaRPr>
          </a:p>
          <a:p>
            <a:pPr lvl="0">
              <a:spcBef>
                <a:spcPts val="1000"/>
              </a:spcBef>
              <a:buClr>
                <a:schemeClr val="accent1"/>
              </a:buClr>
              <a:buSzPct val="80000"/>
              <a:buFont typeface="Wingdings 3" charset="2"/>
              <a:buChar char=""/>
            </a:pPr>
            <a:r>
              <a:rPr lang="en-US" altLang="en-US" dirty="0">
                <a:solidFill>
                  <a:schemeClr val="bg1"/>
                </a:solidFill>
              </a:rPr>
              <a:t>UAN stands for Universal </a:t>
            </a:r>
            <a:r>
              <a:rPr lang="en-US" altLang="en-US">
                <a:solidFill>
                  <a:schemeClr val="bg1"/>
                </a:solidFill>
              </a:rPr>
              <a:t>Account Number. </a:t>
            </a:r>
          </a:p>
          <a:p>
            <a:pPr lvl="0">
              <a:spcBef>
                <a:spcPts val="1000"/>
              </a:spcBef>
              <a:buClr>
                <a:schemeClr val="accent1"/>
              </a:buClr>
              <a:buSzPct val="80000"/>
              <a:buFont typeface="Wingdings 3" charset="2"/>
              <a:buChar char=""/>
            </a:pPr>
            <a:r>
              <a:rPr lang="en-US" altLang="en-US">
                <a:solidFill>
                  <a:schemeClr val="bg1"/>
                </a:solidFill>
              </a:rPr>
              <a:t>The </a:t>
            </a:r>
            <a:r>
              <a:rPr lang="en-US" altLang="en-US" dirty="0">
                <a:solidFill>
                  <a:schemeClr val="bg1"/>
                </a:solidFill>
              </a:rPr>
              <a:t>EPFO allots a 12 Digit UAN to every Provident Fund Member. </a:t>
            </a:r>
            <a:endParaRPr lang="en-US" dirty="0">
              <a:solidFill>
                <a:schemeClr val="bg1"/>
              </a:solidFill>
            </a:endParaRPr>
          </a:p>
          <a:p>
            <a:pPr lvl="0">
              <a:spcBef>
                <a:spcPts val="1000"/>
              </a:spcBef>
              <a:buClr>
                <a:schemeClr val="accent1"/>
              </a:buClr>
              <a:buSzPct val="80000"/>
              <a:buFont typeface="Wingdings 3" charset="2"/>
              <a:buChar char=""/>
            </a:pPr>
            <a:endParaRPr lang="en-US" dirty="0">
              <a:solidFill>
                <a:schemeClr val="bg1"/>
              </a:solidFill>
            </a:endParaRPr>
          </a:p>
        </p:txBody>
      </p:sp>
      <p:pic>
        <p:nvPicPr>
          <p:cNvPr id="3" name="Picture 2">
            <a:extLst>
              <a:ext uri="{FF2B5EF4-FFF2-40B4-BE49-F238E27FC236}">
                <a16:creationId xmlns:a16="http://schemas.microsoft.com/office/drawing/2014/main" id="{B44CBC29-57CF-9E33-BF0D-4590010CB1C6}"/>
              </a:ext>
            </a:extLst>
          </p:cNvPr>
          <p:cNvPicPr>
            <a:picLocks noChangeAspect="1"/>
          </p:cNvPicPr>
          <p:nvPr/>
        </p:nvPicPr>
        <p:blipFill>
          <a:blip r:embed="rId2"/>
          <a:stretch>
            <a:fillRect/>
          </a:stretch>
        </p:blipFill>
        <p:spPr>
          <a:xfrm>
            <a:off x="5669078" y="1606562"/>
            <a:ext cx="6147408" cy="3663144"/>
          </a:xfrm>
          <a:prstGeom prst="rect">
            <a:avLst/>
          </a:prstGeom>
        </p:spPr>
      </p:pic>
      <p:sp>
        <p:nvSpPr>
          <p:cNvPr id="34" name="Isosceles Triangle 33">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50358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0D21547-3FD7-4616-A0CF-27FE7CB7ABC3}"/>
              </a:ext>
            </a:extLst>
          </p:cNvPr>
          <p:cNvSpPr txBox="1">
            <a:spLocks/>
          </p:cNvSpPr>
          <p:nvPr/>
        </p:nvSpPr>
        <p:spPr>
          <a:xfrm>
            <a:off x="914400" y="5415641"/>
            <a:ext cx="10363200" cy="10668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200" dirty="0">
                <a:ln w="0"/>
                <a:solidFill>
                  <a:schemeClr val="tx1"/>
                </a:solidFill>
                <a:effectLst>
                  <a:outerShdw blurRad="38100" dist="19050" dir="2700000" algn="tl" rotWithShape="0">
                    <a:schemeClr val="dk1">
                      <a:alpha val="40000"/>
                    </a:schemeClr>
                  </a:outerShdw>
                </a:effectLst>
                <a:latin typeface="+mn-lt"/>
              </a:rPr>
              <a:t>*</a:t>
            </a:r>
            <a:r>
              <a:rPr lang="en-IN" sz="1200" u="sng" dirty="0">
                <a:ln w="0"/>
                <a:solidFill>
                  <a:schemeClr val="tx1"/>
                </a:solidFill>
                <a:effectLst>
                  <a:outerShdw blurRad="38100" dist="19050" dir="2700000" algn="tl" rotWithShape="0">
                    <a:schemeClr val="dk1">
                      <a:alpha val="40000"/>
                    </a:schemeClr>
                  </a:outerShdw>
                </a:effectLst>
                <a:latin typeface="+mn-lt"/>
              </a:rPr>
              <a:t>Notes:</a:t>
            </a:r>
            <a:r>
              <a:rPr lang="en-IN" sz="1200" dirty="0">
                <a:ln w="0"/>
                <a:solidFill>
                  <a:schemeClr val="tx1"/>
                </a:solidFill>
                <a:effectLst>
                  <a:outerShdw blurRad="38100" dist="19050" dir="2700000" algn="tl" rotWithShape="0">
                    <a:schemeClr val="dk1">
                      <a:alpha val="40000"/>
                    </a:schemeClr>
                  </a:outerShdw>
                </a:effectLst>
                <a:latin typeface="+mn-lt"/>
              </a:rPr>
              <a:t> </a:t>
            </a:r>
          </a:p>
          <a:p>
            <a:pPr marL="171450" indent="-171450">
              <a:buFont typeface="Arial" panose="020B0604020202020204" pitchFamily="34" charset="0"/>
              <a:buChar char="•"/>
            </a:pPr>
            <a:endParaRPr lang="en-IN" sz="1200" dirty="0">
              <a:ln w="0"/>
              <a:solidFill>
                <a:schemeClr val="tx1"/>
              </a:solidFill>
              <a:effectLst>
                <a:outerShdw blurRad="38100" dist="19050" dir="2700000" algn="tl" rotWithShape="0">
                  <a:schemeClr val="dk1">
                    <a:alpha val="40000"/>
                  </a:schemeClr>
                </a:outerShdw>
              </a:effectLst>
              <a:latin typeface="+mn-lt"/>
            </a:endParaRPr>
          </a:p>
          <a:p>
            <a:pPr marL="228600" indent="-228600">
              <a:buFont typeface="+mj-lt"/>
              <a:buAutoNum type="arabicParenR"/>
            </a:pPr>
            <a:r>
              <a:rPr lang="en-IN" sz="1200" dirty="0">
                <a:ln w="0"/>
                <a:solidFill>
                  <a:schemeClr val="tx1"/>
                </a:solidFill>
                <a:effectLst>
                  <a:outerShdw blurRad="38100" dist="19050" dir="2700000" algn="tl" rotWithShape="0">
                    <a:schemeClr val="dk1">
                      <a:alpha val="40000"/>
                    </a:schemeClr>
                  </a:outerShdw>
                </a:effectLst>
                <a:latin typeface="+mn-lt"/>
              </a:rPr>
              <a:t>Link for UAN based Member Portal: </a:t>
            </a:r>
            <a:r>
              <a:rPr lang="en-IN" sz="1200" dirty="0">
                <a:ln w="0"/>
                <a:solidFill>
                  <a:schemeClr val="tx1"/>
                </a:solidFill>
                <a:effectLst>
                  <a:outerShdw blurRad="38100" dist="19050" dir="2700000" algn="tl" rotWithShape="0">
                    <a:schemeClr val="dk1">
                      <a:alpha val="40000"/>
                    </a:schemeClr>
                  </a:outerShdw>
                </a:effectLst>
                <a:latin typeface="+mn-lt"/>
                <a:hlinkClick r:id="rId2"/>
              </a:rPr>
              <a:t>https://unifiedportal-mem.epfindia.gov.in/memberinterface/</a:t>
            </a:r>
            <a:endParaRPr lang="en-IN" sz="1200" dirty="0">
              <a:ln w="0"/>
              <a:solidFill>
                <a:schemeClr val="tx1"/>
              </a:solidFill>
              <a:effectLst>
                <a:outerShdw blurRad="38100" dist="19050" dir="2700000" algn="tl" rotWithShape="0">
                  <a:schemeClr val="dk1">
                    <a:alpha val="40000"/>
                  </a:schemeClr>
                </a:outerShdw>
              </a:effectLst>
              <a:latin typeface="+mn-lt"/>
            </a:endParaRPr>
          </a:p>
          <a:p>
            <a:pPr marL="228600" indent="-228600">
              <a:buFont typeface="+mj-lt"/>
              <a:buAutoNum type="arabicParenR"/>
            </a:pPr>
            <a:endParaRPr lang="en-IN" sz="1200" dirty="0">
              <a:ln w="0"/>
              <a:solidFill>
                <a:schemeClr val="tx1"/>
              </a:solidFill>
              <a:effectLst>
                <a:outerShdw blurRad="38100" dist="19050" dir="2700000" algn="tl" rotWithShape="0">
                  <a:schemeClr val="dk1">
                    <a:alpha val="40000"/>
                  </a:schemeClr>
                </a:outerShdw>
              </a:effectLst>
              <a:latin typeface="+mn-lt"/>
            </a:endParaRPr>
          </a:p>
          <a:p>
            <a:pPr marL="228600" indent="-228600" algn="l">
              <a:buFont typeface="+mj-lt"/>
              <a:buAutoNum type="arabicParenR"/>
            </a:pPr>
            <a:r>
              <a:rPr lang="en-IN" sz="1200" dirty="0">
                <a:ln w="0"/>
                <a:solidFill>
                  <a:schemeClr val="tx1"/>
                </a:solidFill>
                <a:effectLst>
                  <a:outerShdw blurRad="38100" dist="19050" dir="2700000" algn="tl" rotWithShape="0">
                    <a:schemeClr val="dk1">
                      <a:alpha val="40000"/>
                    </a:schemeClr>
                  </a:outerShdw>
                </a:effectLst>
                <a:latin typeface="+mn-lt"/>
              </a:rPr>
              <a:t>The following information being entered should be as per EPFO records:</a:t>
            </a:r>
          </a:p>
          <a:p>
            <a:pPr marL="171450" indent="-171450" algn="l">
              <a:buFont typeface="Arial" panose="020B0604020202020204" pitchFamily="34" charset="0"/>
              <a:buChar char="•"/>
            </a:pPr>
            <a:endParaRPr lang="en-IN" sz="1200" dirty="0">
              <a:ln w="0"/>
              <a:solidFill>
                <a:schemeClr val="tx1"/>
              </a:solidFill>
              <a:effectLst>
                <a:outerShdw blurRad="38100" dist="19050" dir="2700000" algn="tl" rotWithShape="0">
                  <a:schemeClr val="dk1">
                    <a:alpha val="40000"/>
                  </a:schemeClr>
                </a:outerShdw>
              </a:effectLst>
              <a:latin typeface="+mn-lt"/>
            </a:endParaRPr>
          </a:p>
          <a:p>
            <a:pPr marL="171450" indent="-171450" algn="l">
              <a:buFont typeface="Arial" panose="020B0604020202020204" pitchFamily="34" charset="0"/>
              <a:buChar char="•"/>
            </a:pPr>
            <a:r>
              <a:rPr lang="en-IN" sz="1200" dirty="0">
                <a:ln w="0"/>
                <a:solidFill>
                  <a:schemeClr val="tx1"/>
                </a:solidFill>
                <a:effectLst>
                  <a:outerShdw blurRad="38100" dist="19050" dir="2700000" algn="tl" rotWithShape="0">
                    <a:schemeClr val="dk1">
                      <a:alpha val="40000"/>
                    </a:schemeClr>
                  </a:outerShdw>
                </a:effectLst>
                <a:latin typeface="+mn-lt"/>
              </a:rPr>
              <a:t>UAN of member , Member's Aadhaar number, Name, Date of birth should be as available in EPFO records.</a:t>
            </a:r>
          </a:p>
          <a:p>
            <a:pPr marL="171450" indent="-171450">
              <a:buFont typeface="Arial" panose="020B0604020202020204" pitchFamily="34" charset="0"/>
              <a:buChar char="•"/>
            </a:pPr>
            <a:r>
              <a:rPr lang="en-IN" sz="1200" dirty="0">
                <a:ln w="0"/>
                <a:solidFill>
                  <a:schemeClr val="tx1"/>
                </a:solidFill>
                <a:effectLst>
                  <a:outerShdw blurRad="38100" dist="19050" dir="2700000" algn="tl" rotWithShape="0">
                    <a:schemeClr val="dk1">
                      <a:alpha val="40000"/>
                    </a:schemeClr>
                  </a:outerShdw>
                </a:effectLst>
                <a:latin typeface="+mn-lt"/>
              </a:rPr>
              <a:t>Member should have a valid mobile linked with Aadhaar number as per UIDAI records.</a:t>
            </a:r>
          </a:p>
          <a:p>
            <a:pPr marL="171450" indent="-171450">
              <a:buFont typeface="Arial" panose="020B0604020202020204" pitchFamily="34" charset="0"/>
              <a:buChar char="•"/>
            </a:pPr>
            <a:r>
              <a:rPr lang="en-IN" sz="1200" dirty="0">
                <a:ln w="0"/>
                <a:solidFill>
                  <a:schemeClr val="tx1"/>
                </a:solidFill>
                <a:effectLst>
                  <a:outerShdw blurRad="38100" dist="19050" dir="2700000" algn="tl" rotWithShape="0">
                    <a:schemeClr val="dk1">
                      <a:alpha val="40000"/>
                    </a:schemeClr>
                  </a:outerShdw>
                </a:effectLst>
                <a:latin typeface="+mn-lt"/>
              </a:rPr>
              <a:t>Member's Aadhaar number, Name, Date of birth should be same as member's Aadhaar details.</a:t>
            </a:r>
          </a:p>
          <a:p>
            <a:pPr marL="171450" indent="-171450">
              <a:buFont typeface="Arial" panose="020B0604020202020204" pitchFamily="34" charset="0"/>
              <a:buChar char="•"/>
            </a:pPr>
            <a:endParaRPr lang="en-IN" sz="1200" dirty="0">
              <a:ln w="0"/>
              <a:solidFill>
                <a:schemeClr val="tx1"/>
              </a:solidFill>
              <a:effectLst>
                <a:outerShdw blurRad="38100" dist="19050" dir="2700000" algn="tl" rotWithShape="0">
                  <a:schemeClr val="dk1">
                    <a:alpha val="40000"/>
                  </a:schemeClr>
                </a:outerShdw>
              </a:effectLst>
              <a:latin typeface="+mn-lt"/>
            </a:endParaRPr>
          </a:p>
        </p:txBody>
      </p:sp>
      <p:graphicFrame>
        <p:nvGraphicFramePr>
          <p:cNvPr id="5" name="Diagram 4">
            <a:extLst>
              <a:ext uri="{FF2B5EF4-FFF2-40B4-BE49-F238E27FC236}">
                <a16:creationId xmlns:a16="http://schemas.microsoft.com/office/drawing/2014/main" id="{FE85CA84-E6EB-4881-A681-0F1A3D1B1F7E}"/>
              </a:ext>
            </a:extLst>
          </p:cNvPr>
          <p:cNvGraphicFramePr/>
          <p:nvPr>
            <p:extLst>
              <p:ext uri="{D42A27DB-BD31-4B8C-83A1-F6EECF244321}">
                <p14:modId xmlns:p14="http://schemas.microsoft.com/office/powerpoint/2010/main" val="681468180"/>
              </p:ext>
            </p:extLst>
          </p:nvPr>
        </p:nvGraphicFramePr>
        <p:xfrm>
          <a:off x="1219200" y="1442359"/>
          <a:ext cx="10210800" cy="3276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Object 1">
            <a:extLst>
              <a:ext uri="{FF2B5EF4-FFF2-40B4-BE49-F238E27FC236}">
                <a16:creationId xmlns:a16="http://schemas.microsoft.com/office/drawing/2014/main" id="{77703571-F1A3-415C-A411-BF22962F8962}"/>
              </a:ext>
            </a:extLst>
          </p:cNvPr>
          <p:cNvGraphicFramePr>
            <a:graphicFrameLocks noChangeAspect="1"/>
          </p:cNvGraphicFramePr>
          <p:nvPr>
            <p:extLst>
              <p:ext uri="{D42A27DB-BD31-4B8C-83A1-F6EECF244321}">
                <p14:modId xmlns:p14="http://schemas.microsoft.com/office/powerpoint/2010/main" val="3080921899"/>
              </p:ext>
            </p:extLst>
          </p:nvPr>
        </p:nvGraphicFramePr>
        <p:xfrm>
          <a:off x="8683284" y="5690278"/>
          <a:ext cx="1066800" cy="792163"/>
        </p:xfrm>
        <a:graphic>
          <a:graphicData uri="http://schemas.openxmlformats.org/presentationml/2006/ole">
            <mc:AlternateContent xmlns:mc="http://schemas.openxmlformats.org/markup-compatibility/2006">
              <mc:Choice xmlns:v="urn:schemas-microsoft-com:vml" Requires="v">
                <p:oleObj name="Acrobat Document" showAsIcon="1" r:id="rId8" imgW="914400" imgH="792360" progId="Acrobat.Document.DC">
                  <p:embed/>
                </p:oleObj>
              </mc:Choice>
              <mc:Fallback>
                <p:oleObj name="Acrobat Document" showAsIcon="1" r:id="rId8" imgW="914400" imgH="792360" progId="Acrobat.Document.DC">
                  <p:embed/>
                  <p:pic>
                    <p:nvPicPr>
                      <p:cNvPr id="2" name="Object 1">
                        <a:extLst>
                          <a:ext uri="{FF2B5EF4-FFF2-40B4-BE49-F238E27FC236}">
                            <a16:creationId xmlns:a16="http://schemas.microsoft.com/office/drawing/2014/main" id="{77703571-F1A3-415C-A411-BF22962F8962}"/>
                          </a:ext>
                        </a:extLst>
                      </p:cNvPr>
                      <p:cNvPicPr/>
                      <p:nvPr/>
                    </p:nvPicPr>
                    <p:blipFill>
                      <a:blip r:embed="rId9"/>
                      <a:stretch>
                        <a:fillRect/>
                      </a:stretch>
                    </p:blipFill>
                    <p:spPr>
                      <a:xfrm>
                        <a:off x="8683284" y="5690278"/>
                        <a:ext cx="1066800" cy="792163"/>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sp>
        <p:nvSpPr>
          <p:cNvPr id="3" name="Title 1">
            <a:extLst>
              <a:ext uri="{FF2B5EF4-FFF2-40B4-BE49-F238E27FC236}">
                <a16:creationId xmlns:a16="http://schemas.microsoft.com/office/drawing/2014/main" id="{6126ABEA-A5C4-BBED-722D-9A6F88F410D8}"/>
              </a:ext>
            </a:extLst>
          </p:cNvPr>
          <p:cNvSpPr txBox="1">
            <a:spLocks/>
          </p:cNvSpPr>
          <p:nvPr/>
        </p:nvSpPr>
        <p:spPr>
          <a:xfrm>
            <a:off x="914400" y="204312"/>
            <a:ext cx="4980369" cy="818524"/>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800" b="1" u="sng" dirty="0"/>
              <a:t>ACTIVATION OF UAN</a:t>
            </a:r>
            <a:endParaRPr lang="en-US" sz="2800" u="sng" cap="none"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201873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0D21547-3FD7-4616-A0CF-27FE7CB7ABC3}"/>
              </a:ext>
            </a:extLst>
          </p:cNvPr>
          <p:cNvSpPr txBox="1">
            <a:spLocks/>
          </p:cNvSpPr>
          <p:nvPr/>
        </p:nvSpPr>
        <p:spPr>
          <a:xfrm>
            <a:off x="705364" y="5034742"/>
            <a:ext cx="10171672" cy="1374576"/>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sz="1200" b="0" dirty="0">
                <a:ln w="0"/>
                <a:effectLst>
                  <a:outerShdw blurRad="38100" dist="19050" dir="2700000" algn="tl" rotWithShape="0">
                    <a:schemeClr val="dk1">
                      <a:alpha val="40000"/>
                    </a:schemeClr>
                  </a:outerShdw>
                </a:effectLst>
              </a:rPr>
              <a:t>*Notes: </a:t>
            </a:r>
          </a:p>
          <a:p>
            <a:endParaRPr lang="en-IN" sz="1200" b="0" dirty="0">
              <a:ln w="0"/>
              <a:effectLst>
                <a:outerShdw blurRad="38100" dist="19050" dir="2700000" algn="tl" rotWithShape="0">
                  <a:schemeClr val="dk1">
                    <a:alpha val="40000"/>
                  </a:schemeClr>
                </a:outerShdw>
              </a:effectLst>
            </a:endParaRPr>
          </a:p>
          <a:p>
            <a:pPr marL="228600" indent="-228600">
              <a:buFont typeface="+mj-lt"/>
              <a:buAutoNum type="arabicParenR"/>
            </a:pPr>
            <a:r>
              <a:rPr lang="en-IN" sz="1600" b="0" dirty="0">
                <a:ln w="0"/>
                <a:effectLst>
                  <a:outerShdw blurRad="38100" dist="19050" dir="2700000" algn="tl" rotWithShape="0">
                    <a:schemeClr val="dk1">
                      <a:alpha val="40000"/>
                    </a:schemeClr>
                  </a:outerShdw>
                </a:effectLst>
              </a:rPr>
              <a:t>Aadhaar Card, PAN Card and Bank Account </a:t>
            </a:r>
            <a:r>
              <a:rPr lang="en-IN" sz="1200" b="0" dirty="0">
                <a:ln w="0"/>
                <a:effectLst>
                  <a:outerShdw blurRad="38100" dist="19050" dir="2700000" algn="tl" rotWithShape="0">
                    <a:schemeClr val="dk1">
                      <a:alpha val="40000"/>
                    </a:schemeClr>
                  </a:outerShdw>
                </a:effectLst>
              </a:rPr>
              <a:t>details are Mandatory documents required for completing the KYC process.</a:t>
            </a:r>
          </a:p>
          <a:p>
            <a:pPr marL="228600" indent="-228600">
              <a:buFont typeface="+mj-lt"/>
              <a:buAutoNum type="arabicParenR"/>
            </a:pPr>
            <a:r>
              <a:rPr lang="en-IN" sz="1200" b="0" dirty="0">
                <a:ln w="0"/>
                <a:effectLst>
                  <a:outerShdw blurRad="38100" dist="19050" dir="2700000" algn="tl" rotWithShape="0">
                    <a:schemeClr val="dk1">
                      <a:alpha val="40000"/>
                    </a:schemeClr>
                  </a:outerShdw>
                </a:effectLst>
              </a:rPr>
              <a:t>A Member should enter the document number, and additional details such as IFSC in case of bank details and expiry date in case of passport</a:t>
            </a:r>
          </a:p>
          <a:p>
            <a:pPr marL="228600" indent="-228600">
              <a:buFont typeface="+mj-lt"/>
              <a:buAutoNum type="arabicParenR"/>
            </a:pPr>
            <a:r>
              <a:rPr lang="en-IN" sz="1200" b="0" dirty="0">
                <a:ln w="0"/>
                <a:effectLst>
                  <a:outerShdw blurRad="38100" dist="19050" dir="2700000" algn="tl" rotWithShape="0">
                    <a:schemeClr val="dk1">
                      <a:alpha val="40000"/>
                    </a:schemeClr>
                  </a:outerShdw>
                </a:effectLst>
              </a:rPr>
              <a:t>The KYC details should be approved digitally by the Employer.</a:t>
            </a:r>
          </a:p>
          <a:p>
            <a:pPr marL="228600" indent="-228600">
              <a:buFont typeface="+mj-lt"/>
              <a:buAutoNum type="arabicParenR"/>
            </a:pPr>
            <a:r>
              <a:rPr lang="en-IN" sz="1200" b="0" dirty="0">
                <a:ln w="0"/>
                <a:effectLst>
                  <a:outerShdw blurRad="38100" dist="19050" dir="2700000" algn="tl" rotWithShape="0">
                    <a:schemeClr val="dk1">
                      <a:alpha val="40000"/>
                    </a:schemeClr>
                  </a:outerShdw>
                </a:effectLst>
              </a:rPr>
              <a:t>In case you do not want your details to be updated, you can cancel the KYC process by clicking on the “X” sign marked against the document before it is approved or verified by the Employer.</a:t>
            </a:r>
          </a:p>
          <a:p>
            <a:endParaRPr lang="en-IN" sz="1200" b="0" dirty="0">
              <a:ln w="0"/>
              <a:effectLst>
                <a:outerShdw blurRad="38100" dist="19050" dir="2700000" algn="tl" rotWithShape="0">
                  <a:schemeClr val="dk1">
                    <a:alpha val="40000"/>
                  </a:schemeClr>
                </a:outerShdw>
              </a:effectLst>
            </a:endParaRPr>
          </a:p>
        </p:txBody>
      </p:sp>
      <p:sp>
        <p:nvSpPr>
          <p:cNvPr id="14" name="Rectangle 13">
            <a:extLst>
              <a:ext uri="{FF2B5EF4-FFF2-40B4-BE49-F238E27FC236}">
                <a16:creationId xmlns:a16="http://schemas.microsoft.com/office/drawing/2014/main" id="{B18DC869-932A-46B8-A38D-69A6D9FF41E7}"/>
              </a:ext>
            </a:extLst>
          </p:cNvPr>
          <p:cNvSpPr/>
          <p:nvPr/>
        </p:nvSpPr>
        <p:spPr bwMode="ltGray">
          <a:xfrm>
            <a:off x="533400" y="2066912"/>
            <a:ext cx="11277600" cy="1066800"/>
          </a:xfrm>
          <a:prstGeom prst="rect">
            <a:avLst/>
          </a:prstGeom>
          <a:solidFill>
            <a:schemeClr val="bg2">
              <a:lumMod val="25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1018824" eaLnBrk="1" fontAlgn="auto" hangingPunct="1">
              <a:spcBef>
                <a:spcPts val="0"/>
              </a:spcBef>
              <a:spcAft>
                <a:spcPts val="0"/>
              </a:spcAft>
              <a:defRPr/>
            </a:pPr>
            <a:endParaRPr lang="en-GB" sz="2000" kern="0">
              <a:solidFill>
                <a:srgbClr val="FFFFFF"/>
              </a:solidFill>
              <a:latin typeface="Georgia" pitchFamily="18" charset="0"/>
            </a:endParaRPr>
          </a:p>
        </p:txBody>
      </p:sp>
      <p:grpSp>
        <p:nvGrpSpPr>
          <p:cNvPr id="15" name="Group 13">
            <a:extLst>
              <a:ext uri="{FF2B5EF4-FFF2-40B4-BE49-F238E27FC236}">
                <a16:creationId xmlns:a16="http://schemas.microsoft.com/office/drawing/2014/main" id="{B9543291-66AC-45F1-AEFC-58D20F54FD6B}"/>
              </a:ext>
            </a:extLst>
          </p:cNvPr>
          <p:cNvGrpSpPr>
            <a:grpSpLocks/>
          </p:cNvGrpSpPr>
          <p:nvPr/>
        </p:nvGrpSpPr>
        <p:grpSpPr bwMode="auto">
          <a:xfrm>
            <a:off x="1066800" y="1828800"/>
            <a:ext cx="2362200" cy="2327275"/>
            <a:chOff x="1422836" y="1668409"/>
            <a:chExt cx="4092575" cy="4854575"/>
          </a:xfrm>
        </p:grpSpPr>
        <p:sp>
          <p:nvSpPr>
            <p:cNvPr id="16" name="Freeform 6">
              <a:extLst>
                <a:ext uri="{FF2B5EF4-FFF2-40B4-BE49-F238E27FC236}">
                  <a16:creationId xmlns:a16="http://schemas.microsoft.com/office/drawing/2014/main" id="{E123FE61-FDCF-4BA7-B312-5C8ECD821FAE}"/>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17" name="Freeform 7">
              <a:extLst>
                <a:ext uri="{FF2B5EF4-FFF2-40B4-BE49-F238E27FC236}">
                  <a16:creationId xmlns:a16="http://schemas.microsoft.com/office/drawing/2014/main" id="{984BDDB6-9267-492B-93A8-032C681C92BC}"/>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18" name="Freeform 11">
              <a:extLst>
                <a:ext uri="{FF2B5EF4-FFF2-40B4-BE49-F238E27FC236}">
                  <a16:creationId xmlns:a16="http://schemas.microsoft.com/office/drawing/2014/main" id="{E9FFFA7A-00D1-4D59-9C51-28FDBCC77E22}"/>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ln/>
          </p:spPr>
          <p:style>
            <a:lnRef idx="0">
              <a:schemeClr val="accent1"/>
            </a:lnRef>
            <a:fillRef idx="3">
              <a:schemeClr val="accent1"/>
            </a:fillRef>
            <a:effectRef idx="3">
              <a:schemeClr val="accent1"/>
            </a:effectRef>
            <a:fontRef idx="minor">
              <a:schemeClr val="lt1"/>
            </a:fontRef>
          </p:style>
          <p:txBody>
            <a:bodyPr/>
            <a:lstStyle/>
            <a:p>
              <a:pPr defTabSz="1018824" eaLnBrk="1" fontAlgn="auto" hangingPunct="1">
                <a:spcBef>
                  <a:spcPts val="0"/>
                </a:spcBef>
                <a:spcAft>
                  <a:spcPts val="0"/>
                </a:spcAft>
                <a:defRPr/>
              </a:pPr>
              <a:endParaRPr lang="en-GB" sz="1000" kern="0">
                <a:ln w="0"/>
                <a:solidFill>
                  <a:schemeClr val="tx1"/>
                </a:solidFill>
                <a:effectLst>
                  <a:outerShdw blurRad="38100" dist="19050" dir="2700000" algn="tl" rotWithShape="0">
                    <a:schemeClr val="dk1">
                      <a:alpha val="40000"/>
                    </a:schemeClr>
                  </a:outerShdw>
                </a:effectLst>
                <a:latin typeface="+mj-lt"/>
              </a:endParaRPr>
            </a:p>
          </p:txBody>
        </p:sp>
        <p:sp>
          <p:nvSpPr>
            <p:cNvPr id="19" name="Oval 18">
              <a:extLst>
                <a:ext uri="{FF2B5EF4-FFF2-40B4-BE49-F238E27FC236}">
                  <a16:creationId xmlns:a16="http://schemas.microsoft.com/office/drawing/2014/main" id="{5C6BB9C3-C21B-4A4A-AE04-9C1458D57184}"/>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kern="0">
                  <a:ln w="0"/>
                  <a:effectLst>
                    <a:outerShdw blurRad="38100" dist="19050" dir="2700000" algn="tl" rotWithShape="0">
                      <a:schemeClr val="dk1">
                        <a:alpha val="40000"/>
                      </a:schemeClr>
                    </a:outerShdw>
                  </a:effectLst>
                </a:rPr>
                <a:t>Click on ‘MANAGE’ &amp; Select “KYC” option</a:t>
              </a:r>
            </a:p>
          </p:txBody>
        </p:sp>
      </p:grpSp>
      <p:grpSp>
        <p:nvGrpSpPr>
          <p:cNvPr id="25" name="Group 13">
            <a:extLst>
              <a:ext uri="{FF2B5EF4-FFF2-40B4-BE49-F238E27FC236}">
                <a16:creationId xmlns:a16="http://schemas.microsoft.com/office/drawing/2014/main" id="{0AE2B1CB-CAFE-42F1-B45B-DA0CE03C57E7}"/>
              </a:ext>
            </a:extLst>
          </p:cNvPr>
          <p:cNvGrpSpPr>
            <a:grpSpLocks/>
          </p:cNvGrpSpPr>
          <p:nvPr/>
        </p:nvGrpSpPr>
        <p:grpSpPr bwMode="auto">
          <a:xfrm>
            <a:off x="4914900" y="1828800"/>
            <a:ext cx="2362200" cy="2403800"/>
            <a:chOff x="1422836" y="1668409"/>
            <a:chExt cx="4092575" cy="4854575"/>
          </a:xfrm>
        </p:grpSpPr>
        <p:sp>
          <p:nvSpPr>
            <p:cNvPr id="26" name="Freeform 6">
              <a:extLst>
                <a:ext uri="{FF2B5EF4-FFF2-40B4-BE49-F238E27FC236}">
                  <a16:creationId xmlns:a16="http://schemas.microsoft.com/office/drawing/2014/main" id="{AD2497DE-5D32-4FD6-9162-008BE3FC1529}"/>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27" name="Freeform 7">
              <a:extLst>
                <a:ext uri="{FF2B5EF4-FFF2-40B4-BE49-F238E27FC236}">
                  <a16:creationId xmlns:a16="http://schemas.microsoft.com/office/drawing/2014/main" id="{539A810C-887B-4DC5-946C-689AB858F6C1}"/>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28" name="Freeform 11">
              <a:extLst>
                <a:ext uri="{FF2B5EF4-FFF2-40B4-BE49-F238E27FC236}">
                  <a16:creationId xmlns:a16="http://schemas.microsoft.com/office/drawing/2014/main" id="{1AD8E0FF-7100-48C5-8BDA-D16CD592E8A8}"/>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ln/>
          </p:spPr>
          <p:style>
            <a:lnRef idx="1">
              <a:schemeClr val="accent5"/>
            </a:lnRef>
            <a:fillRef idx="3">
              <a:schemeClr val="accent5"/>
            </a:fillRef>
            <a:effectRef idx="2">
              <a:schemeClr val="accent5"/>
            </a:effectRef>
            <a:fontRef idx="minor">
              <a:schemeClr val="lt1"/>
            </a:fontRef>
          </p:style>
          <p:txBody>
            <a:bodyPr/>
            <a:lstStyle/>
            <a:p>
              <a:pPr defTabSz="1018824" eaLnBrk="1" fontAlgn="auto" hangingPunct="1">
                <a:spcBef>
                  <a:spcPts val="0"/>
                </a:spcBef>
                <a:spcAft>
                  <a:spcPts val="0"/>
                </a:spcAft>
                <a:defRPr/>
              </a:pPr>
              <a:endParaRPr lang="en-GB" sz="1000" kern="0">
                <a:ln w="0"/>
                <a:solidFill>
                  <a:schemeClr val="tx1"/>
                </a:solidFill>
                <a:effectLst>
                  <a:outerShdw blurRad="38100" dist="19050" dir="2700000" algn="tl" rotWithShape="0">
                    <a:schemeClr val="dk1">
                      <a:alpha val="40000"/>
                    </a:schemeClr>
                  </a:outerShdw>
                </a:effectLst>
                <a:latin typeface="+mj-lt"/>
              </a:endParaRPr>
            </a:p>
          </p:txBody>
        </p:sp>
        <p:sp>
          <p:nvSpPr>
            <p:cNvPr id="29" name="Oval 28">
              <a:extLst>
                <a:ext uri="{FF2B5EF4-FFF2-40B4-BE49-F238E27FC236}">
                  <a16:creationId xmlns:a16="http://schemas.microsoft.com/office/drawing/2014/main" id="{F08D6579-23AF-46BD-B3CF-10C04D02BCBD}"/>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kern="0">
                  <a:ln w="0"/>
                  <a:effectLst>
                    <a:outerShdw blurRad="38100" dist="19050" dir="2700000" algn="tl" rotWithShape="0">
                      <a:schemeClr val="dk1">
                        <a:alpha val="40000"/>
                      </a:schemeClr>
                    </a:outerShdw>
                  </a:effectLst>
                </a:rPr>
                <a:t>Click on KYC document to Add</a:t>
              </a:r>
            </a:p>
          </p:txBody>
        </p:sp>
      </p:grpSp>
      <p:grpSp>
        <p:nvGrpSpPr>
          <p:cNvPr id="30" name="Group 13">
            <a:extLst>
              <a:ext uri="{FF2B5EF4-FFF2-40B4-BE49-F238E27FC236}">
                <a16:creationId xmlns:a16="http://schemas.microsoft.com/office/drawing/2014/main" id="{3B9AD228-32E2-40DB-ABA0-DE6A4289D649}"/>
              </a:ext>
            </a:extLst>
          </p:cNvPr>
          <p:cNvGrpSpPr>
            <a:grpSpLocks/>
          </p:cNvGrpSpPr>
          <p:nvPr/>
        </p:nvGrpSpPr>
        <p:grpSpPr bwMode="auto">
          <a:xfrm>
            <a:off x="8824912" y="1817662"/>
            <a:ext cx="2362200" cy="2372598"/>
            <a:chOff x="1422836" y="1668409"/>
            <a:chExt cx="4092575" cy="4854575"/>
          </a:xfrm>
        </p:grpSpPr>
        <p:sp>
          <p:nvSpPr>
            <p:cNvPr id="31" name="Freeform 6">
              <a:extLst>
                <a:ext uri="{FF2B5EF4-FFF2-40B4-BE49-F238E27FC236}">
                  <a16:creationId xmlns:a16="http://schemas.microsoft.com/office/drawing/2014/main" id="{DF7F1C16-5113-4F8D-A033-DB0DB85B1B6A}"/>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32" name="Freeform 7">
              <a:extLst>
                <a:ext uri="{FF2B5EF4-FFF2-40B4-BE49-F238E27FC236}">
                  <a16:creationId xmlns:a16="http://schemas.microsoft.com/office/drawing/2014/main" id="{2EA9D847-3E97-46F9-9241-95BF11848835}"/>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a:ln w="0"/>
                <a:effectLst>
                  <a:outerShdw blurRad="38100" dist="19050" dir="2700000" algn="tl" rotWithShape="0">
                    <a:schemeClr val="dk1">
                      <a:alpha val="40000"/>
                    </a:schemeClr>
                  </a:outerShdw>
                </a:effectLst>
                <a:latin typeface="+mj-lt"/>
              </a:endParaRPr>
            </a:p>
          </p:txBody>
        </p:sp>
        <p:sp>
          <p:nvSpPr>
            <p:cNvPr id="33" name="Freeform 11">
              <a:extLst>
                <a:ext uri="{FF2B5EF4-FFF2-40B4-BE49-F238E27FC236}">
                  <a16:creationId xmlns:a16="http://schemas.microsoft.com/office/drawing/2014/main" id="{1E2AECC9-A3A5-4419-9AAF-B4EAEB0870AB}"/>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ln/>
          </p:spPr>
          <p:style>
            <a:lnRef idx="0">
              <a:schemeClr val="accent3"/>
            </a:lnRef>
            <a:fillRef idx="3">
              <a:schemeClr val="accent3"/>
            </a:fillRef>
            <a:effectRef idx="3">
              <a:schemeClr val="accent3"/>
            </a:effectRef>
            <a:fontRef idx="minor">
              <a:schemeClr val="lt1"/>
            </a:fontRef>
          </p:style>
          <p:txBody>
            <a:bodyPr/>
            <a:lstStyle/>
            <a:p>
              <a:pPr defTabSz="1018824" eaLnBrk="1" fontAlgn="auto" hangingPunct="1">
                <a:spcBef>
                  <a:spcPts val="0"/>
                </a:spcBef>
                <a:spcAft>
                  <a:spcPts val="0"/>
                </a:spcAft>
                <a:defRPr/>
              </a:pPr>
              <a:endParaRPr lang="en-GB" sz="1000" kern="0">
                <a:ln w="0"/>
                <a:solidFill>
                  <a:schemeClr val="tx1"/>
                </a:solidFill>
                <a:effectLst>
                  <a:outerShdw blurRad="38100" dist="19050" dir="2700000" algn="tl" rotWithShape="0">
                    <a:schemeClr val="dk1">
                      <a:alpha val="40000"/>
                    </a:schemeClr>
                  </a:outerShdw>
                </a:effectLst>
                <a:latin typeface="+mj-lt"/>
              </a:endParaRPr>
            </a:p>
          </p:txBody>
        </p:sp>
        <p:sp>
          <p:nvSpPr>
            <p:cNvPr id="34" name="Oval 33">
              <a:extLst>
                <a:ext uri="{FF2B5EF4-FFF2-40B4-BE49-F238E27FC236}">
                  <a16:creationId xmlns:a16="http://schemas.microsoft.com/office/drawing/2014/main" id="{014A3782-D8B0-4F01-B2D7-B9366A2F6801}"/>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kern="0">
                  <a:ln w="0"/>
                  <a:effectLst>
                    <a:outerShdw blurRad="38100" dist="19050" dir="2700000" algn="tl" rotWithShape="0">
                      <a:schemeClr val="dk1">
                        <a:alpha val="40000"/>
                      </a:schemeClr>
                    </a:outerShdw>
                  </a:effectLst>
                </a:rPr>
                <a:t>Enter details &amp; Click on the checkbox to save the KYC</a:t>
              </a:r>
            </a:p>
          </p:txBody>
        </p:sp>
      </p:grpSp>
      <p:sp>
        <p:nvSpPr>
          <p:cNvPr id="35" name="Oval 34">
            <a:extLst>
              <a:ext uri="{FF2B5EF4-FFF2-40B4-BE49-F238E27FC236}">
                <a16:creationId xmlns:a16="http://schemas.microsoft.com/office/drawing/2014/main" id="{5AED7039-F705-4750-9D7D-D987DF11C535}"/>
              </a:ext>
            </a:extLst>
          </p:cNvPr>
          <p:cNvSpPr/>
          <p:nvPr/>
        </p:nvSpPr>
        <p:spPr>
          <a:xfrm>
            <a:off x="1881188" y="1187949"/>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1</a:t>
            </a:r>
          </a:p>
        </p:txBody>
      </p:sp>
      <p:sp>
        <p:nvSpPr>
          <p:cNvPr id="36" name="Oval 35">
            <a:extLst>
              <a:ext uri="{FF2B5EF4-FFF2-40B4-BE49-F238E27FC236}">
                <a16:creationId xmlns:a16="http://schemas.microsoft.com/office/drawing/2014/main" id="{C03DCF35-9FF7-4FDD-8B3A-8CE128869FEA}"/>
              </a:ext>
            </a:extLst>
          </p:cNvPr>
          <p:cNvSpPr/>
          <p:nvPr/>
        </p:nvSpPr>
        <p:spPr>
          <a:xfrm>
            <a:off x="5791200" y="1187949"/>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a:solidFill>
                  <a:schemeClr val="tx1"/>
                </a:solidFill>
              </a:rPr>
              <a:t>2</a:t>
            </a:r>
          </a:p>
        </p:txBody>
      </p:sp>
      <p:sp>
        <p:nvSpPr>
          <p:cNvPr id="37" name="Oval 36">
            <a:extLst>
              <a:ext uri="{FF2B5EF4-FFF2-40B4-BE49-F238E27FC236}">
                <a16:creationId xmlns:a16="http://schemas.microsoft.com/office/drawing/2014/main" id="{470A84BD-5F21-4AAC-8F11-197C5129E7F9}"/>
              </a:ext>
            </a:extLst>
          </p:cNvPr>
          <p:cNvSpPr/>
          <p:nvPr/>
        </p:nvSpPr>
        <p:spPr>
          <a:xfrm>
            <a:off x="9701212" y="1211640"/>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a:solidFill>
                  <a:schemeClr val="tx1"/>
                </a:solidFill>
              </a:rPr>
              <a:t>3</a:t>
            </a:r>
          </a:p>
        </p:txBody>
      </p:sp>
      <p:sp>
        <p:nvSpPr>
          <p:cNvPr id="2" name="Title 1">
            <a:extLst>
              <a:ext uri="{FF2B5EF4-FFF2-40B4-BE49-F238E27FC236}">
                <a16:creationId xmlns:a16="http://schemas.microsoft.com/office/drawing/2014/main" id="{72400AA7-2ECF-60C8-0618-51AAE594FED1}"/>
              </a:ext>
            </a:extLst>
          </p:cNvPr>
          <p:cNvSpPr txBox="1">
            <a:spLocks/>
          </p:cNvSpPr>
          <p:nvPr/>
        </p:nvSpPr>
        <p:spPr>
          <a:xfrm>
            <a:off x="639381" y="77666"/>
            <a:ext cx="4980369" cy="818524"/>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800" b="1" u="sng" dirty="0"/>
              <a:t>KYC UNDER UAN PROFILE</a:t>
            </a:r>
            <a:endParaRPr lang="en-US" sz="2800" u="sng" cap="none"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102956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589567" y="272902"/>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a:t>E-Nomination</a:t>
            </a:r>
          </a:p>
        </p:txBody>
      </p:sp>
      <p:graphicFrame>
        <p:nvGraphicFramePr>
          <p:cNvPr id="4" name="Diagram 3">
            <a:extLst>
              <a:ext uri="{FF2B5EF4-FFF2-40B4-BE49-F238E27FC236}">
                <a16:creationId xmlns:a16="http://schemas.microsoft.com/office/drawing/2014/main" id="{BECBA54E-B769-4877-AC6C-03726EC8D7AB}"/>
              </a:ext>
            </a:extLst>
          </p:cNvPr>
          <p:cNvGraphicFramePr/>
          <p:nvPr>
            <p:extLst>
              <p:ext uri="{D42A27DB-BD31-4B8C-83A1-F6EECF244321}">
                <p14:modId xmlns:p14="http://schemas.microsoft.com/office/powerpoint/2010/main" val="671856043"/>
              </p:ext>
            </p:extLst>
          </p:nvPr>
        </p:nvGraphicFramePr>
        <p:xfrm>
          <a:off x="275439" y="1311001"/>
          <a:ext cx="11125200" cy="4538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sp>
        <p:nvSpPr>
          <p:cNvPr id="3" name="TextBox 2">
            <a:extLst>
              <a:ext uri="{FF2B5EF4-FFF2-40B4-BE49-F238E27FC236}">
                <a16:creationId xmlns:a16="http://schemas.microsoft.com/office/drawing/2014/main" id="{B70C9F2F-63DA-4D2D-A95E-5A2C2239F62F}"/>
              </a:ext>
            </a:extLst>
          </p:cNvPr>
          <p:cNvSpPr txBox="1"/>
          <p:nvPr/>
        </p:nvSpPr>
        <p:spPr>
          <a:xfrm>
            <a:off x="533400" y="849467"/>
            <a:ext cx="11201400" cy="1015663"/>
          </a:xfrm>
          <a:prstGeom prst="rect">
            <a:avLst/>
          </a:prstGeom>
          <a:noFill/>
        </p:spPr>
        <p:txBody>
          <a:bodyPr wrap="square" rtlCol="0">
            <a:spAutoFit/>
          </a:bodyPr>
          <a:lstStyle/>
          <a:p>
            <a:pPr algn="just"/>
            <a:r>
              <a:rPr lang="en-IN" sz="1200">
                <a:ln w="0"/>
                <a:effectLst>
                  <a:outerShdw blurRad="38100" dist="19050" dir="2700000" algn="tl" rotWithShape="0">
                    <a:schemeClr val="dk1">
                      <a:alpha val="40000"/>
                    </a:schemeClr>
                  </a:outerShdw>
                </a:effectLst>
              </a:rPr>
              <a:t>The Employees’ Provident Fund Organization (EPFO) has been constantly enhancing the digitization framework with the ultimate goal of paying out Provident Fund (PF) and Pension (EPS) claims in a timely manner post retirement to subscribers or to their nominees on a member’s demise. Towards this, the processes have been made simple, transparent and technology driven. </a:t>
            </a:r>
          </a:p>
          <a:p>
            <a:pPr algn="just"/>
            <a:endParaRPr lang="en-IN" sz="1200">
              <a:ln w="0"/>
              <a:effectLst>
                <a:outerShdw blurRad="38100" dist="19050" dir="2700000" algn="tl" rotWithShape="0">
                  <a:schemeClr val="dk1">
                    <a:alpha val="40000"/>
                  </a:schemeClr>
                </a:outerShdw>
              </a:effectLst>
            </a:endParaRPr>
          </a:p>
          <a:p>
            <a:pPr algn="just"/>
            <a:r>
              <a:rPr lang="en-IN" sz="1200">
                <a:ln w="0"/>
                <a:effectLst>
                  <a:outerShdw blurRad="38100" dist="19050" dir="2700000" algn="tl" rotWithShape="0">
                    <a:schemeClr val="dk1">
                      <a:alpha val="40000"/>
                    </a:schemeClr>
                  </a:outerShdw>
                </a:effectLst>
              </a:rPr>
              <a:t>Nomination helps Nominees to access social security benefits (such as PF, Pension &amp; EDLI) online. It also helps speedy Pension claim settlements for Members.</a:t>
            </a:r>
          </a:p>
        </p:txBody>
      </p:sp>
      <p:sp>
        <p:nvSpPr>
          <p:cNvPr id="9" name="Title 1">
            <a:extLst>
              <a:ext uri="{FF2B5EF4-FFF2-40B4-BE49-F238E27FC236}">
                <a16:creationId xmlns:a16="http://schemas.microsoft.com/office/drawing/2014/main" id="{08CCAFCC-A863-4901-ABCC-40F72EA6B791}"/>
              </a:ext>
            </a:extLst>
          </p:cNvPr>
          <p:cNvSpPr txBox="1">
            <a:spLocks/>
          </p:cNvSpPr>
          <p:nvPr/>
        </p:nvSpPr>
        <p:spPr>
          <a:xfrm>
            <a:off x="685800" y="4921289"/>
            <a:ext cx="8930148" cy="1695920"/>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sz="1050" b="0" dirty="0">
                <a:ln w="0"/>
                <a:effectLst>
                  <a:outerShdw blurRad="38100" dist="19050" dir="2700000" algn="tl" rotWithShape="0">
                    <a:schemeClr val="dk1">
                      <a:alpha val="40000"/>
                    </a:schemeClr>
                  </a:outerShdw>
                </a:effectLst>
              </a:rPr>
              <a:t>*Notes: </a:t>
            </a:r>
          </a:p>
          <a:p>
            <a:endParaRPr lang="en-IN" b="0" dirty="0">
              <a:ln w="0"/>
              <a:effectLst>
                <a:outerShdw blurRad="38100" dist="19050" dir="2700000" algn="tl" rotWithShape="0">
                  <a:schemeClr val="dk1">
                    <a:alpha val="40000"/>
                  </a:schemeClr>
                </a:outerShdw>
              </a:effectLst>
            </a:endParaRPr>
          </a:p>
          <a:p>
            <a:pPr marL="228600" indent="-228600">
              <a:buFont typeface="+mj-lt"/>
              <a:buAutoNum type="arabicParenR"/>
            </a:pPr>
            <a:r>
              <a:rPr lang="en-IN" b="0" dirty="0">
                <a:ln w="0"/>
                <a:effectLst>
                  <a:outerShdw blurRad="38100" dist="19050" dir="2700000" algn="tl" rotWithShape="0">
                    <a:schemeClr val="dk1">
                      <a:alpha val="40000"/>
                    </a:schemeClr>
                  </a:outerShdw>
                </a:effectLst>
              </a:rPr>
              <a:t>The e-Nomination facility can be availed only by members who have an active UAN and active mobile number linked and verified with Aadhaar. </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Also, all your personal details such as address, mobile number must be available on the Member Portal. You can check your personal details under the 'Profile’ tab.</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The photograph of an EPF member along with his/her Nominee should be available under UAN profile. In case the photographs are not available then it can be uploaded through Profile section. </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Photograph size should be 3.5 cmx 4.5 cm</a:t>
            </a:r>
          </a:p>
          <a:p>
            <a:pPr marL="228600" indent="-228600">
              <a:buFont typeface="+mj-lt"/>
              <a:buAutoNum type="arabicParenR"/>
            </a:pPr>
            <a:r>
              <a:rPr lang="en-IN" b="0" dirty="0">
                <a:ln w="0"/>
                <a:effectLst>
                  <a:outerShdw blurRad="38100" dist="19050" dir="2700000" algn="tl" rotWithShape="0">
                    <a:schemeClr val="dk1">
                      <a:alpha val="40000"/>
                    </a:schemeClr>
                  </a:outerShdw>
                </a:effectLst>
              </a:rPr>
              <a:t>The image should be in jpeg or jpg or </a:t>
            </a:r>
            <a:r>
              <a:rPr lang="en-IN" b="0" dirty="0" err="1">
                <a:ln w="0"/>
                <a:effectLst>
                  <a:outerShdw blurRad="38100" dist="19050" dir="2700000" algn="tl" rotWithShape="0">
                    <a:schemeClr val="dk1">
                      <a:alpha val="40000"/>
                    </a:schemeClr>
                  </a:outerShdw>
                </a:effectLst>
              </a:rPr>
              <a:t>png</a:t>
            </a:r>
            <a:r>
              <a:rPr lang="en-IN" b="0" dirty="0">
                <a:ln w="0"/>
                <a:effectLst>
                  <a:outerShdw blurRad="38100" dist="19050" dir="2700000" algn="tl" rotWithShape="0">
                    <a:schemeClr val="dk1">
                      <a:alpha val="40000"/>
                    </a:schemeClr>
                  </a:outerShdw>
                </a:effectLst>
              </a:rPr>
              <a:t> format</a:t>
            </a:r>
          </a:p>
          <a:p>
            <a:endParaRPr lang="en-IN" sz="1050" b="0" dirty="0">
              <a:ln w="0"/>
              <a:effectLst>
                <a:outerShdw blurRad="38100" dist="19050" dir="2700000" algn="tl" rotWithShape="0">
                  <a:schemeClr val="dk1">
                    <a:alpha val="40000"/>
                  </a:schemeClr>
                </a:outerShdw>
              </a:effectLst>
            </a:endParaRPr>
          </a:p>
        </p:txBody>
      </p:sp>
      <p:graphicFrame>
        <p:nvGraphicFramePr>
          <p:cNvPr id="5" name="Object 4">
            <a:extLst>
              <a:ext uri="{FF2B5EF4-FFF2-40B4-BE49-F238E27FC236}">
                <a16:creationId xmlns:a16="http://schemas.microsoft.com/office/drawing/2014/main" id="{8B58B591-42AF-41B0-9D6E-698A1EAC0816}"/>
              </a:ext>
            </a:extLst>
          </p:cNvPr>
          <p:cNvGraphicFramePr>
            <a:graphicFrameLocks noChangeAspect="1"/>
          </p:cNvGraphicFramePr>
          <p:nvPr>
            <p:extLst>
              <p:ext uri="{D42A27DB-BD31-4B8C-83A1-F6EECF244321}">
                <p14:modId xmlns:p14="http://schemas.microsoft.com/office/powerpoint/2010/main" val="1540046101"/>
              </p:ext>
            </p:extLst>
          </p:nvPr>
        </p:nvGraphicFramePr>
        <p:xfrm>
          <a:off x="10210801" y="5230802"/>
          <a:ext cx="1189838" cy="1017598"/>
        </p:xfrm>
        <a:graphic>
          <a:graphicData uri="http://schemas.openxmlformats.org/presentationml/2006/ole">
            <mc:AlternateContent xmlns:mc="http://schemas.openxmlformats.org/markup-compatibility/2006">
              <mc:Choice xmlns:v="urn:schemas-microsoft-com:vml" Requires="v">
                <p:oleObj name="Acrobat Document" showAsIcon="1" r:id="rId7" imgW="914400" imgH="792360" progId="Acrobat.Document.DC">
                  <p:embed/>
                </p:oleObj>
              </mc:Choice>
              <mc:Fallback>
                <p:oleObj name="Acrobat Document" showAsIcon="1" r:id="rId7" imgW="914400" imgH="792360" progId="Acrobat.Document.DC">
                  <p:embed/>
                  <p:pic>
                    <p:nvPicPr>
                      <p:cNvPr id="5" name="Object 4">
                        <a:extLst>
                          <a:ext uri="{FF2B5EF4-FFF2-40B4-BE49-F238E27FC236}">
                            <a16:creationId xmlns:a16="http://schemas.microsoft.com/office/drawing/2014/main" id="{8B58B591-42AF-41B0-9D6E-698A1EAC0816}"/>
                          </a:ext>
                        </a:extLst>
                      </p:cNvPr>
                      <p:cNvPicPr/>
                      <p:nvPr/>
                    </p:nvPicPr>
                    <p:blipFill>
                      <a:blip r:embed="rId8"/>
                      <a:stretch>
                        <a:fillRect/>
                      </a:stretch>
                    </p:blipFill>
                    <p:spPr>
                      <a:xfrm>
                        <a:off x="10210801" y="5230802"/>
                        <a:ext cx="1189838" cy="1017598"/>
                      </a:xfrm>
                      <a:prstGeom prst="rect">
                        <a:avLst/>
                      </a:pr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p:spPr>
                  </p:pic>
                </p:oleObj>
              </mc:Fallback>
            </mc:AlternateContent>
          </a:graphicData>
        </a:graphic>
      </p:graphicFrame>
    </p:spTree>
    <p:extLst>
      <p:ext uri="{BB962C8B-B14F-4D97-AF65-F5344CB8AC3E}">
        <p14:creationId xmlns:p14="http://schemas.microsoft.com/office/powerpoint/2010/main" val="3643343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742106" y="210039"/>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a:t>PF BALANCE</a:t>
            </a:r>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sp>
        <p:nvSpPr>
          <p:cNvPr id="10" name="TextBox 9">
            <a:extLst>
              <a:ext uri="{FF2B5EF4-FFF2-40B4-BE49-F238E27FC236}">
                <a16:creationId xmlns:a16="http://schemas.microsoft.com/office/drawing/2014/main" id="{E9C8F255-CF7E-470B-9729-8A4EFA92CE6F}"/>
              </a:ext>
            </a:extLst>
          </p:cNvPr>
          <p:cNvSpPr txBox="1"/>
          <p:nvPr/>
        </p:nvSpPr>
        <p:spPr>
          <a:xfrm>
            <a:off x="1480127" y="5286050"/>
            <a:ext cx="10146145" cy="1361911"/>
          </a:xfrm>
          <a:prstGeom prst="rect">
            <a:avLst/>
          </a:prstGeom>
          <a:noFill/>
        </p:spPr>
        <p:txBody>
          <a:bodyPr wrap="square">
            <a:spAutoFit/>
          </a:bodyPr>
          <a:lstStyle/>
          <a:p>
            <a:endParaRPr lang="en-IN" sz="100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endParaRPr>
          </a:p>
          <a:p>
            <a:r>
              <a:rPr lang="en-IN" sz="1000" u="sng"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Note:</a:t>
            </a:r>
            <a:r>
              <a:rPr lang="en-IN" sz="100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 </a:t>
            </a:r>
          </a:p>
          <a:p>
            <a:endParaRPr lang="en-IN" sz="1000" dirty="0">
              <a:ln w="0"/>
              <a:effectLst>
                <a:outerShdw blurRad="38100" dist="19050" dir="2700000" algn="tl" rotWithShape="0">
                  <a:schemeClr val="dk1">
                    <a:alpha val="40000"/>
                  </a:schemeClr>
                </a:outerShdw>
              </a:effectLst>
              <a:latin typeface="Calibri" panose="020F0502020204030204" pitchFamily="34" charset="0"/>
              <a:ea typeface="Calibri" panose="020F0502020204030204" pitchFamily="34" charset="0"/>
            </a:endParaRPr>
          </a:p>
          <a:p>
            <a:pPr marL="228600" indent="-228600">
              <a:buFont typeface="+mj-lt"/>
              <a:buAutoNum type="arabicPeriod"/>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The PF Passbook on the EPFO Portal can be accessible if:</a:t>
            </a:r>
          </a:p>
          <a:p>
            <a:pPr marL="228600" indent="-228600">
              <a:buFont typeface="Arial" panose="020B0604020202020204" pitchFamily="34" charset="0"/>
              <a:buChar char="•"/>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UAN is activated &amp; linked with the Mobile no. registered under Aadhaar Profile.</a:t>
            </a:r>
          </a:p>
          <a:p>
            <a:pPr marL="228600" indent="-228600">
              <a:buFont typeface="Arial" panose="020B0604020202020204" pitchFamily="34" charset="0"/>
              <a:buChar char="•"/>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Aadhaar seeding has been completed under UAN Profile.</a:t>
            </a:r>
          </a:p>
          <a:p>
            <a:pPr marL="228600" indent="-228600">
              <a:buFont typeface="Arial" panose="020B0604020202020204" pitchFamily="34" charset="0"/>
              <a:buChar char="•"/>
            </a:pPr>
            <a:r>
              <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rPr>
              <a:t>E-Nomination has been submitted &amp; it is approved through e-sign. </a:t>
            </a:r>
          </a:p>
          <a:p>
            <a:pPr marL="228600" indent="-228600">
              <a:buFont typeface="+mj-lt"/>
              <a:buAutoNum type="arabicPeriod"/>
            </a:pPr>
            <a:endParaRPr lang="en-IN" sz="1050" dirty="0">
              <a:ln w="0"/>
              <a:effectLst>
                <a:outerShdw blurRad="38100" dist="19050" dir="2700000" algn="tl" rotWithShape="0">
                  <a:schemeClr val="dk1">
                    <a:alpha val="40000"/>
                  </a:schemeClr>
                </a:outerShdw>
              </a:effectLst>
              <a:latin typeface="Verdana" panose="020B060403050404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7186325-9552-4701-BE66-ED548841CAAE}"/>
              </a:ext>
            </a:extLst>
          </p:cNvPr>
          <p:cNvSpPr txBox="1"/>
          <p:nvPr/>
        </p:nvSpPr>
        <p:spPr>
          <a:xfrm>
            <a:off x="621145" y="3839967"/>
            <a:ext cx="10439400" cy="276999"/>
          </a:xfrm>
          <a:prstGeom prst="rect">
            <a:avLst/>
          </a:prstGeom>
          <a:noFill/>
        </p:spPr>
        <p:txBody>
          <a:bodyPr wrap="square">
            <a:spAutoFit/>
          </a:bodyPr>
          <a:lstStyle/>
          <a:p>
            <a:r>
              <a:rPr lang="en-IN" sz="1200">
                <a:effectLst/>
                <a:latin typeface="Verdana" panose="020B0604030504040204" pitchFamily="34" charset="0"/>
                <a:ea typeface="Calibri" panose="020F0502020204030204" pitchFamily="34" charset="0"/>
              </a:rPr>
              <a:t> </a:t>
            </a:r>
            <a:endParaRPr lang="en-IN" sz="1200"/>
          </a:p>
        </p:txBody>
      </p:sp>
      <p:graphicFrame>
        <p:nvGraphicFramePr>
          <p:cNvPr id="13" name="Diagram 12">
            <a:extLst>
              <a:ext uri="{FF2B5EF4-FFF2-40B4-BE49-F238E27FC236}">
                <a16:creationId xmlns:a16="http://schemas.microsoft.com/office/drawing/2014/main" id="{398BAF5D-69B2-4A6F-94AC-9DB20A37A072}"/>
              </a:ext>
            </a:extLst>
          </p:cNvPr>
          <p:cNvGraphicFramePr/>
          <p:nvPr>
            <p:extLst>
              <p:ext uri="{D42A27DB-BD31-4B8C-83A1-F6EECF244321}">
                <p14:modId xmlns:p14="http://schemas.microsoft.com/office/powerpoint/2010/main" val="3167294153"/>
              </p:ext>
            </p:extLst>
          </p:nvPr>
        </p:nvGraphicFramePr>
        <p:xfrm>
          <a:off x="767772" y="1399036"/>
          <a:ext cx="10146145" cy="4026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TextBox 14">
            <a:extLst>
              <a:ext uri="{FF2B5EF4-FFF2-40B4-BE49-F238E27FC236}">
                <a16:creationId xmlns:a16="http://schemas.microsoft.com/office/drawing/2014/main" id="{AF91B370-B559-4EF2-8A3C-52841760BAA7}"/>
              </a:ext>
            </a:extLst>
          </p:cNvPr>
          <p:cNvSpPr txBox="1"/>
          <p:nvPr/>
        </p:nvSpPr>
        <p:spPr>
          <a:xfrm>
            <a:off x="2496128" y="279529"/>
            <a:ext cx="7199744" cy="307777"/>
          </a:xfrm>
          <a:prstGeom prst="rect">
            <a:avLst/>
          </a:prstGeom>
          <a:noFill/>
        </p:spPr>
        <p:txBody>
          <a:bodyPr wrap="square">
            <a:spAutoFit/>
          </a:bodyPr>
          <a:lstStyle/>
          <a:p>
            <a:r>
              <a:rPr lang="en-IN" sz="1400" dirty="0">
                <a:effectLst/>
                <a:latin typeface="Verdana" panose="020B0604030504040204" pitchFamily="34" charset="0"/>
                <a:ea typeface="Calibri" panose="020F0502020204030204" pitchFamily="34" charset="0"/>
              </a:rPr>
              <a:t>Methods to check PF balances</a:t>
            </a:r>
            <a:endParaRPr lang="en-IN" sz="1400" dirty="0">
              <a:effectLst/>
              <a:latin typeface="Calibri" panose="020F0502020204030204" pitchFamily="34" charset="0"/>
              <a:ea typeface="Calibri" panose="020F0502020204030204" pitchFamily="34" charset="0"/>
            </a:endParaRPr>
          </a:p>
        </p:txBody>
      </p:sp>
      <p:sp>
        <p:nvSpPr>
          <p:cNvPr id="3" name="Oval 2">
            <a:extLst>
              <a:ext uri="{FF2B5EF4-FFF2-40B4-BE49-F238E27FC236}">
                <a16:creationId xmlns:a16="http://schemas.microsoft.com/office/drawing/2014/main" id="{DB57AD76-E306-8094-A25C-2DB07EAAA77F}"/>
              </a:ext>
            </a:extLst>
          </p:cNvPr>
          <p:cNvSpPr/>
          <p:nvPr/>
        </p:nvSpPr>
        <p:spPr>
          <a:xfrm>
            <a:off x="1817702" y="826120"/>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1</a:t>
            </a:r>
          </a:p>
        </p:txBody>
      </p:sp>
      <p:sp>
        <p:nvSpPr>
          <p:cNvPr id="4" name="Oval 3">
            <a:extLst>
              <a:ext uri="{FF2B5EF4-FFF2-40B4-BE49-F238E27FC236}">
                <a16:creationId xmlns:a16="http://schemas.microsoft.com/office/drawing/2014/main" id="{957FCD98-7FF4-D36D-F6FB-3CA8A184F094}"/>
              </a:ext>
            </a:extLst>
          </p:cNvPr>
          <p:cNvSpPr/>
          <p:nvPr/>
        </p:nvSpPr>
        <p:spPr>
          <a:xfrm>
            <a:off x="4328494" y="811374"/>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2</a:t>
            </a:r>
          </a:p>
        </p:txBody>
      </p:sp>
      <p:sp>
        <p:nvSpPr>
          <p:cNvPr id="5" name="Oval 4">
            <a:extLst>
              <a:ext uri="{FF2B5EF4-FFF2-40B4-BE49-F238E27FC236}">
                <a16:creationId xmlns:a16="http://schemas.microsoft.com/office/drawing/2014/main" id="{2FFE71B9-9D83-DDC8-7C9B-A95B3070EB89}"/>
              </a:ext>
            </a:extLst>
          </p:cNvPr>
          <p:cNvSpPr/>
          <p:nvPr/>
        </p:nvSpPr>
        <p:spPr>
          <a:xfrm>
            <a:off x="9281652" y="811373"/>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4</a:t>
            </a:r>
          </a:p>
        </p:txBody>
      </p:sp>
      <p:sp>
        <p:nvSpPr>
          <p:cNvPr id="6" name="Oval 5">
            <a:extLst>
              <a:ext uri="{FF2B5EF4-FFF2-40B4-BE49-F238E27FC236}">
                <a16:creationId xmlns:a16="http://schemas.microsoft.com/office/drawing/2014/main" id="{AF6FD552-7C78-C598-5C60-1425AD623F50}"/>
              </a:ext>
            </a:extLst>
          </p:cNvPr>
          <p:cNvSpPr/>
          <p:nvPr/>
        </p:nvSpPr>
        <p:spPr>
          <a:xfrm>
            <a:off x="6822439" y="803611"/>
            <a:ext cx="609600" cy="481397"/>
          </a:xfrm>
          <a:prstGeom prst="ellips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3</a:t>
            </a:r>
          </a:p>
        </p:txBody>
      </p:sp>
    </p:spTree>
    <p:extLst>
      <p:ext uri="{BB962C8B-B14F-4D97-AF65-F5344CB8AC3E}">
        <p14:creationId xmlns:p14="http://schemas.microsoft.com/office/powerpoint/2010/main" val="2313390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293255" y="444389"/>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a:t>PROCESS DOCUMENTS - PROVIDENT FUND</a:t>
            </a:r>
          </a:p>
          <a:p>
            <a:pPr algn="ctr"/>
            <a:endParaRPr lang="en-US" sz="2400" b="1"/>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sp>
        <p:nvSpPr>
          <p:cNvPr id="9" name="Title 1">
            <a:extLst>
              <a:ext uri="{FF2B5EF4-FFF2-40B4-BE49-F238E27FC236}">
                <a16:creationId xmlns:a16="http://schemas.microsoft.com/office/drawing/2014/main" id="{08CCAFCC-A863-4901-ABCC-40F72EA6B791}"/>
              </a:ext>
            </a:extLst>
          </p:cNvPr>
          <p:cNvSpPr txBox="1">
            <a:spLocks/>
          </p:cNvSpPr>
          <p:nvPr/>
        </p:nvSpPr>
        <p:spPr>
          <a:xfrm>
            <a:off x="791360" y="5492464"/>
            <a:ext cx="10867239" cy="1270618"/>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a:t>Notes: </a:t>
            </a:r>
          </a:p>
          <a:p>
            <a:endParaRPr lang="en-IN" b="0"/>
          </a:p>
          <a:p>
            <a:pPr marL="228600" indent="-228600">
              <a:buFont typeface="+mj-lt"/>
              <a:buAutoNum type="arabicParenR"/>
            </a:pPr>
            <a:r>
              <a:rPr lang="en-IN" b="0"/>
              <a:t>Link for UAN based Member Portal: </a:t>
            </a:r>
            <a:r>
              <a:rPr lang="en-IN" b="0">
                <a:hlinkClick r:id="rId2"/>
              </a:rPr>
              <a:t>https://unifiedportal-mem.epfindia.gov.in/memberinterface/</a:t>
            </a:r>
            <a:endParaRPr lang="en-IN" b="0"/>
          </a:p>
          <a:p>
            <a:pPr marL="228600" indent="-228600">
              <a:buFont typeface="+mj-lt"/>
              <a:buAutoNum type="arabicParenR"/>
            </a:pPr>
            <a:endParaRPr lang="en-IN" b="0"/>
          </a:p>
          <a:p>
            <a:pPr marL="228600" indent="-228600">
              <a:buFont typeface="+mj-lt"/>
              <a:buAutoNum type="arabicParenR"/>
            </a:pPr>
            <a:r>
              <a:rPr lang="en-IN" b="0"/>
              <a:t>An employee need to ensure that all the mandatory KYC details such as Aadhaar, Bank Account No. &amp; PAN details are linked to UAN &amp; it is digitally approved by the Employer on UAN based Member Portal.</a:t>
            </a:r>
          </a:p>
        </p:txBody>
      </p:sp>
      <p:sp>
        <p:nvSpPr>
          <p:cNvPr id="10" name="TextBox 9">
            <a:extLst>
              <a:ext uri="{FF2B5EF4-FFF2-40B4-BE49-F238E27FC236}">
                <a16:creationId xmlns:a16="http://schemas.microsoft.com/office/drawing/2014/main" id="{D25285E6-F374-4EAB-9190-9B002BDFE28E}"/>
              </a:ext>
            </a:extLst>
          </p:cNvPr>
          <p:cNvSpPr txBox="1"/>
          <p:nvPr/>
        </p:nvSpPr>
        <p:spPr>
          <a:xfrm>
            <a:off x="1185792" y="832313"/>
            <a:ext cx="1037788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400" b="1" u="sng"/>
              <a:t>PF TRANSFER PROCESS</a:t>
            </a:r>
            <a:r>
              <a:rPr lang="en-IN" sz="1400" b="1"/>
              <a:t>- </a:t>
            </a:r>
            <a:r>
              <a:rPr lang="en-IN" sz="1050"/>
              <a:t>An Employee need to raise PF Transfer request, once existing UAN is mapped to new PF Account no. at New Employer</a:t>
            </a:r>
          </a:p>
        </p:txBody>
      </p:sp>
      <p:graphicFrame>
        <p:nvGraphicFramePr>
          <p:cNvPr id="5" name="Object 4">
            <a:extLst>
              <a:ext uri="{FF2B5EF4-FFF2-40B4-BE49-F238E27FC236}">
                <a16:creationId xmlns:a16="http://schemas.microsoft.com/office/drawing/2014/main" id="{1DA5C97F-7EC8-4E04-97BB-ABF9E5ADD6F8}"/>
              </a:ext>
            </a:extLst>
          </p:cNvPr>
          <p:cNvGraphicFramePr>
            <a:graphicFrameLocks noChangeAspect="1"/>
          </p:cNvGraphicFramePr>
          <p:nvPr>
            <p:extLst>
              <p:ext uri="{D42A27DB-BD31-4B8C-83A1-F6EECF244321}">
                <p14:modId xmlns:p14="http://schemas.microsoft.com/office/powerpoint/2010/main" val="3844153650"/>
              </p:ext>
            </p:extLst>
          </p:nvPr>
        </p:nvGraphicFramePr>
        <p:xfrm>
          <a:off x="755650" y="1547813"/>
          <a:ext cx="1068388" cy="833437"/>
        </p:xfrm>
        <a:graphic>
          <a:graphicData uri="http://schemas.openxmlformats.org/presentationml/2006/ole">
            <mc:AlternateContent xmlns:mc="http://schemas.openxmlformats.org/markup-compatibility/2006">
              <mc:Choice xmlns:v="urn:schemas-microsoft-com:vml" Requires="v">
                <p:oleObj name="Acrobat Document" showAsIcon="1" r:id="rId3" imgW="774000" imgH="672480" progId="Acrobat.Document.DC">
                  <p:embed/>
                </p:oleObj>
              </mc:Choice>
              <mc:Fallback>
                <p:oleObj name="Acrobat Document" showAsIcon="1" r:id="rId3" imgW="774000" imgH="672480" progId="Acrobat.Document.DC">
                  <p:embed/>
                  <p:pic>
                    <p:nvPicPr>
                      <p:cNvPr id="5" name="Object 4">
                        <a:extLst>
                          <a:ext uri="{FF2B5EF4-FFF2-40B4-BE49-F238E27FC236}">
                            <a16:creationId xmlns:a16="http://schemas.microsoft.com/office/drawing/2014/main" id="{1DA5C97F-7EC8-4E04-97BB-ABF9E5ADD6F8}"/>
                          </a:ext>
                        </a:extLst>
                      </p:cNvPr>
                      <p:cNvPicPr/>
                      <p:nvPr/>
                    </p:nvPicPr>
                    <p:blipFill>
                      <a:blip r:embed="rId4"/>
                      <a:stretch>
                        <a:fillRect/>
                      </a:stretch>
                    </p:blipFill>
                    <p:spPr>
                      <a:xfrm>
                        <a:off x="755650" y="1547813"/>
                        <a:ext cx="1068388" cy="833437"/>
                      </a:xfrm>
                      <a:prstGeom prst="rect">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p:spPr>
                  </p:pic>
                </p:oleObj>
              </mc:Fallback>
            </mc:AlternateContent>
          </a:graphicData>
        </a:graphic>
      </p:graphicFrame>
      <p:sp>
        <p:nvSpPr>
          <p:cNvPr id="12" name="TextBox 11">
            <a:extLst>
              <a:ext uri="{FF2B5EF4-FFF2-40B4-BE49-F238E27FC236}">
                <a16:creationId xmlns:a16="http://schemas.microsoft.com/office/drawing/2014/main" id="{B4B35BD6-4B87-4235-8828-5E4B2271BF6E}"/>
              </a:ext>
            </a:extLst>
          </p:cNvPr>
          <p:cNvSpPr txBox="1"/>
          <p:nvPr/>
        </p:nvSpPr>
        <p:spPr>
          <a:xfrm>
            <a:off x="791360" y="2727437"/>
            <a:ext cx="10714840" cy="1638910"/>
          </a:xfrm>
          <a:prstGeom prst="rect">
            <a:avLst/>
          </a:prstGeom>
          <a:noFill/>
        </p:spPr>
        <p:txBody>
          <a:bodyPr wrap="square" rtlCol="0">
            <a:spAutoFit/>
          </a:bodyPr>
          <a:lstStyle/>
          <a:p>
            <a:r>
              <a:rPr lang="en-IN" sz="1400" b="1" dirty="0"/>
              <a:t>	</a:t>
            </a:r>
            <a:r>
              <a:rPr lang="en-IN" sz="1400" b="1" u="sng" dirty="0"/>
              <a:t>PF WITHDRAWAL PROCESS</a:t>
            </a:r>
            <a:r>
              <a:rPr lang="en-IN" sz="1200" b="1" dirty="0"/>
              <a:t>- </a:t>
            </a:r>
            <a:r>
              <a:rPr lang="en-US" sz="1050" dirty="0"/>
              <a:t>Provident Fund </a:t>
            </a:r>
            <a:r>
              <a:rPr lang="en-US" sz="1050" dirty="0">
                <a:effectLst/>
              </a:rPr>
              <a:t>helps employees build a corpus for their retirement. It is Social Security Measures initiated by the Govt. </a:t>
            </a:r>
            <a:r>
              <a:rPr lang="en-US" sz="1050">
                <a:effectLst/>
              </a:rPr>
              <a:t>of 	India with an objective of providing benefits to its member at the time of retirement, The Members would be allowed to withdraw their Provident Fund in below 	cases </a:t>
            </a:r>
            <a:endParaRPr lang="en-IN" sz="1050" dirty="0"/>
          </a:p>
          <a:p>
            <a:pPr marL="342900" indent="-342900">
              <a:buFont typeface="+mj-lt"/>
              <a:buAutoNum type="arabicParenR"/>
            </a:pPr>
            <a:endParaRPr lang="en-US" sz="1050" dirty="0"/>
          </a:p>
          <a:p>
            <a:pPr marL="342900" lvl="0" indent="-342900" algn="just">
              <a:spcBef>
                <a:spcPts val="80"/>
              </a:spcBef>
              <a:buFont typeface="Arial" panose="020B0604020202020204" pitchFamily="34" charset="0"/>
              <a:buChar char="•"/>
            </a:pPr>
            <a:r>
              <a:rPr lang="en-US" sz="1050" dirty="0">
                <a:effectLst/>
              </a:rPr>
              <a:t>Resignation (If unemployed after Two months from the separation date)</a:t>
            </a:r>
            <a:endParaRPr lang="en-IN" sz="1050" dirty="0">
              <a:effectLst/>
            </a:endParaRPr>
          </a:p>
          <a:p>
            <a:pPr marL="342900" lvl="0" indent="-342900" algn="just">
              <a:spcBef>
                <a:spcPts val="80"/>
              </a:spcBef>
              <a:buFont typeface="Arial" panose="020B0604020202020204" pitchFamily="34" charset="0"/>
              <a:buChar char="•"/>
            </a:pPr>
            <a:r>
              <a:rPr lang="en-US" sz="1050" dirty="0">
                <a:effectLst/>
              </a:rPr>
              <a:t>Retirement </a:t>
            </a:r>
            <a:endParaRPr lang="en-IN" sz="1050" dirty="0">
              <a:effectLst/>
            </a:endParaRPr>
          </a:p>
          <a:p>
            <a:pPr marL="342900" lvl="0" indent="-342900" algn="just">
              <a:spcBef>
                <a:spcPts val="80"/>
              </a:spcBef>
              <a:buFont typeface="Arial" panose="020B0604020202020204" pitchFamily="34" charset="0"/>
              <a:buChar char="•"/>
            </a:pPr>
            <a:r>
              <a:rPr lang="en-US" sz="1050" dirty="0">
                <a:effectLst/>
              </a:rPr>
              <a:t>Permanent Disability of Employee</a:t>
            </a:r>
            <a:endParaRPr lang="en-IN" sz="1050" dirty="0"/>
          </a:p>
          <a:p>
            <a:pPr marL="342900" indent="-342900">
              <a:buFont typeface="+mj-lt"/>
              <a:buAutoNum type="arabicParenR"/>
            </a:pPr>
            <a:endParaRPr lang="en-US" sz="1050" dirty="0"/>
          </a:p>
          <a:p>
            <a:pPr marL="0" indent="0">
              <a:buNone/>
            </a:pPr>
            <a:r>
              <a:rPr lang="en-US" sz="1100" b="1" u="sng" dirty="0"/>
              <a:t>An employee can submit PF Withdrawal Application </a:t>
            </a:r>
            <a:r>
              <a:rPr lang="en-US" sz="1100" b="1" u="sng" dirty="0">
                <a:effectLst/>
              </a:rPr>
              <a:t>on the UAN based Member Portal after completion of 2 Months period after leaving the job.</a:t>
            </a:r>
            <a:endParaRPr lang="en-IN" sz="1050" b="1" u="sng" dirty="0"/>
          </a:p>
        </p:txBody>
      </p:sp>
      <p:graphicFrame>
        <p:nvGraphicFramePr>
          <p:cNvPr id="6" name="Object 5">
            <a:extLst>
              <a:ext uri="{FF2B5EF4-FFF2-40B4-BE49-F238E27FC236}">
                <a16:creationId xmlns:a16="http://schemas.microsoft.com/office/drawing/2014/main" id="{7C6C6B53-F02E-4BF4-9137-E48C76F9D344}"/>
              </a:ext>
            </a:extLst>
          </p:cNvPr>
          <p:cNvGraphicFramePr>
            <a:graphicFrameLocks noChangeAspect="1"/>
          </p:cNvGraphicFramePr>
          <p:nvPr>
            <p:extLst>
              <p:ext uri="{D42A27DB-BD31-4B8C-83A1-F6EECF244321}">
                <p14:modId xmlns:p14="http://schemas.microsoft.com/office/powerpoint/2010/main" val="1266867808"/>
              </p:ext>
            </p:extLst>
          </p:nvPr>
        </p:nvGraphicFramePr>
        <p:xfrm>
          <a:off x="884238" y="4559300"/>
          <a:ext cx="1117600" cy="746125"/>
        </p:xfrm>
        <a:graphic>
          <a:graphicData uri="http://schemas.openxmlformats.org/presentationml/2006/ole">
            <mc:AlternateContent xmlns:mc="http://schemas.openxmlformats.org/markup-compatibility/2006">
              <mc:Choice xmlns:v="urn:schemas-microsoft-com:vml" Requires="v">
                <p:oleObj name="Acrobat Document" showAsIcon="1" r:id="rId5" imgW="774000" imgH="672480" progId="Acrobat.Document.DC">
                  <p:embed/>
                </p:oleObj>
              </mc:Choice>
              <mc:Fallback>
                <p:oleObj name="Acrobat Document" showAsIcon="1" r:id="rId5" imgW="774000" imgH="672480" progId="Acrobat.Document.DC">
                  <p:embed/>
                  <p:pic>
                    <p:nvPicPr>
                      <p:cNvPr id="6" name="Object 5">
                        <a:extLst>
                          <a:ext uri="{FF2B5EF4-FFF2-40B4-BE49-F238E27FC236}">
                            <a16:creationId xmlns:a16="http://schemas.microsoft.com/office/drawing/2014/main" id="{7C6C6B53-F02E-4BF4-9137-E48C76F9D344}"/>
                          </a:ext>
                        </a:extLst>
                      </p:cNvPr>
                      <p:cNvPicPr/>
                      <p:nvPr/>
                    </p:nvPicPr>
                    <p:blipFill>
                      <a:blip r:embed="rId6"/>
                      <a:stretch>
                        <a:fillRect/>
                      </a:stretch>
                    </p:blipFill>
                    <p:spPr>
                      <a:xfrm>
                        <a:off x="884238" y="4559300"/>
                        <a:ext cx="1117600" cy="746125"/>
                      </a:xfrm>
                      <a:prstGeom prst="rect">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p:spPr>
                  </p:pic>
                </p:oleObj>
              </mc:Fallback>
            </mc:AlternateContent>
          </a:graphicData>
        </a:graphic>
      </p:graphicFrame>
      <p:graphicFrame>
        <p:nvGraphicFramePr>
          <p:cNvPr id="13" name="Object 12">
            <a:extLst>
              <a:ext uri="{FF2B5EF4-FFF2-40B4-BE49-F238E27FC236}">
                <a16:creationId xmlns:a16="http://schemas.microsoft.com/office/drawing/2014/main" id="{708824E3-6A17-4808-8C80-76F9311F41EE}"/>
              </a:ext>
            </a:extLst>
          </p:cNvPr>
          <p:cNvGraphicFramePr>
            <a:graphicFrameLocks noChangeAspect="1"/>
          </p:cNvGraphicFramePr>
          <p:nvPr>
            <p:extLst>
              <p:ext uri="{D42A27DB-BD31-4B8C-83A1-F6EECF244321}">
                <p14:modId xmlns:p14="http://schemas.microsoft.com/office/powerpoint/2010/main" val="2411188169"/>
              </p:ext>
            </p:extLst>
          </p:nvPr>
        </p:nvGraphicFramePr>
        <p:xfrm>
          <a:off x="2529280" y="4476759"/>
          <a:ext cx="1066800" cy="875202"/>
        </p:xfrm>
        <a:graphic>
          <a:graphicData uri="http://schemas.openxmlformats.org/presentationml/2006/ole">
            <mc:AlternateContent xmlns:mc="http://schemas.openxmlformats.org/markup-compatibility/2006">
              <mc:Choice xmlns:v="urn:schemas-microsoft-com:vml" Requires="v">
                <p:oleObj name="Acrobat Document" showAsIcon="1" r:id="rId7" imgW="914400" imgH="792417" progId="Acrobat.Document.DC">
                  <p:embed/>
                </p:oleObj>
              </mc:Choice>
              <mc:Fallback>
                <p:oleObj name="Acrobat Document" showAsIcon="1" r:id="rId7" imgW="914400" imgH="792417" progId="Acrobat.Document.DC">
                  <p:embed/>
                  <p:pic>
                    <p:nvPicPr>
                      <p:cNvPr id="13" name="Object 12">
                        <a:extLst>
                          <a:ext uri="{FF2B5EF4-FFF2-40B4-BE49-F238E27FC236}">
                            <a16:creationId xmlns:a16="http://schemas.microsoft.com/office/drawing/2014/main" id="{708824E3-6A17-4808-8C80-76F9311F41EE}"/>
                          </a:ext>
                        </a:extLst>
                      </p:cNvPr>
                      <p:cNvPicPr/>
                      <p:nvPr/>
                    </p:nvPicPr>
                    <p:blipFill>
                      <a:blip r:embed="rId8"/>
                      <a:stretch>
                        <a:fillRect/>
                      </a:stretch>
                    </p:blipFill>
                    <p:spPr>
                      <a:xfrm>
                        <a:off x="2529280" y="4476759"/>
                        <a:ext cx="1066800" cy="875202"/>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graphicFrame>
        <p:nvGraphicFramePr>
          <p:cNvPr id="14" name="Object 13">
            <a:extLst>
              <a:ext uri="{FF2B5EF4-FFF2-40B4-BE49-F238E27FC236}">
                <a16:creationId xmlns:a16="http://schemas.microsoft.com/office/drawing/2014/main" id="{F714B97A-66D4-4213-B599-59FFA79BF26D}"/>
              </a:ext>
            </a:extLst>
          </p:cNvPr>
          <p:cNvGraphicFramePr>
            <a:graphicFrameLocks noChangeAspect="1"/>
          </p:cNvGraphicFramePr>
          <p:nvPr>
            <p:extLst>
              <p:ext uri="{D42A27DB-BD31-4B8C-83A1-F6EECF244321}">
                <p14:modId xmlns:p14="http://schemas.microsoft.com/office/powerpoint/2010/main" val="169163510"/>
              </p:ext>
            </p:extLst>
          </p:nvPr>
        </p:nvGraphicFramePr>
        <p:xfrm>
          <a:off x="4038600" y="4463214"/>
          <a:ext cx="1066800" cy="885017"/>
        </p:xfrm>
        <a:graphic>
          <a:graphicData uri="http://schemas.openxmlformats.org/presentationml/2006/ole">
            <mc:AlternateContent xmlns:mc="http://schemas.openxmlformats.org/markup-compatibility/2006">
              <mc:Choice xmlns:v="urn:schemas-microsoft-com:vml" Requires="v">
                <p:oleObj name="Acrobat Document" showAsIcon="1" r:id="rId9" imgW="914400" imgH="792417" progId="Acrobat.Document.DC">
                  <p:embed/>
                </p:oleObj>
              </mc:Choice>
              <mc:Fallback>
                <p:oleObj name="Acrobat Document" showAsIcon="1" r:id="rId9" imgW="914400" imgH="792417" progId="Acrobat.Document.DC">
                  <p:embed/>
                  <p:pic>
                    <p:nvPicPr>
                      <p:cNvPr id="14" name="Object 13">
                        <a:extLst>
                          <a:ext uri="{FF2B5EF4-FFF2-40B4-BE49-F238E27FC236}">
                            <a16:creationId xmlns:a16="http://schemas.microsoft.com/office/drawing/2014/main" id="{F714B97A-66D4-4213-B599-59FFA79BF26D}"/>
                          </a:ext>
                        </a:extLst>
                      </p:cNvPr>
                      <p:cNvPicPr/>
                      <p:nvPr/>
                    </p:nvPicPr>
                    <p:blipFill>
                      <a:blip r:embed="rId10"/>
                      <a:stretch>
                        <a:fillRect/>
                      </a:stretch>
                    </p:blipFill>
                    <p:spPr>
                      <a:xfrm>
                        <a:off x="4038600" y="4463214"/>
                        <a:ext cx="1066800" cy="885017"/>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pic>
        <p:nvPicPr>
          <p:cNvPr id="18" name="Graphic 17" descr="Play with solid fill">
            <a:extLst>
              <a:ext uri="{FF2B5EF4-FFF2-40B4-BE49-F238E27FC236}">
                <a16:creationId xmlns:a16="http://schemas.microsoft.com/office/drawing/2014/main" id="{4838CE5B-14F8-4AC3-9B02-0FC7A1448B90}"/>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769" y="809464"/>
            <a:ext cx="597023" cy="492443"/>
          </a:xfrm>
          <a:prstGeom prst="rect">
            <a:avLst/>
          </a:prstGeom>
        </p:spPr>
      </p:pic>
      <p:pic>
        <p:nvPicPr>
          <p:cNvPr id="20" name="Graphic 19" descr="Play with solid fill">
            <a:extLst>
              <a:ext uri="{FF2B5EF4-FFF2-40B4-BE49-F238E27FC236}">
                <a16:creationId xmlns:a16="http://schemas.microsoft.com/office/drawing/2014/main" id="{AB3E7B3B-FA34-454D-88CD-31D58007D49F}"/>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18614" y="2777878"/>
            <a:ext cx="597023" cy="492443"/>
          </a:xfrm>
          <a:prstGeom prst="rect">
            <a:avLst/>
          </a:prstGeom>
        </p:spPr>
      </p:pic>
    </p:spTree>
    <p:extLst>
      <p:ext uri="{BB962C8B-B14F-4D97-AF65-F5344CB8AC3E}">
        <p14:creationId xmlns:p14="http://schemas.microsoft.com/office/powerpoint/2010/main" val="4272118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277920" y="622014"/>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GRATUITY FUND</a:t>
            </a:r>
            <a:r>
              <a:rPr lang="en-US" sz="2400" b="1" dirty="0"/>
              <a:t> </a:t>
            </a:r>
            <a:r>
              <a:rPr lang="en-US" sz="1200" b="1" dirty="0"/>
              <a:t>(Eligibility criteria &amp; process)</a:t>
            </a:r>
            <a:endParaRPr lang="en-US" sz="2400" b="1" dirty="0"/>
          </a:p>
          <a:p>
            <a:pPr algn="ctr"/>
            <a:endParaRPr lang="en-US" sz="2400" b="1" dirty="0"/>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a:p>
        </p:txBody>
      </p:sp>
      <p:pic>
        <p:nvPicPr>
          <p:cNvPr id="20" name="Graphic 19" descr="Play with solid fill">
            <a:extLst>
              <a:ext uri="{FF2B5EF4-FFF2-40B4-BE49-F238E27FC236}">
                <a16:creationId xmlns:a16="http://schemas.microsoft.com/office/drawing/2014/main" id="{AB3E7B3B-FA34-454D-88CD-31D58007D49F}"/>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083" y="3660457"/>
            <a:ext cx="597023" cy="492443"/>
          </a:xfrm>
          <a:prstGeom prst="rect">
            <a:avLst/>
          </a:prstGeom>
        </p:spPr>
      </p:pic>
      <p:sp>
        <p:nvSpPr>
          <p:cNvPr id="15" name="TextBox 14">
            <a:extLst>
              <a:ext uri="{FF2B5EF4-FFF2-40B4-BE49-F238E27FC236}">
                <a16:creationId xmlns:a16="http://schemas.microsoft.com/office/drawing/2014/main" id="{218F58CB-FCEF-4893-987A-EC9D2C1224E8}"/>
              </a:ext>
            </a:extLst>
          </p:cNvPr>
          <p:cNvSpPr txBox="1"/>
          <p:nvPr/>
        </p:nvSpPr>
        <p:spPr>
          <a:xfrm>
            <a:off x="3352800" y="1196264"/>
            <a:ext cx="6096000" cy="1138773"/>
          </a:xfrm>
          <a:prstGeom prst="rect">
            <a:avLst/>
          </a:prstGeom>
          <a:noFill/>
        </p:spPr>
        <p:txBody>
          <a:bodyPr wrap="square" rtlCol="0">
            <a:spAutoFit/>
          </a:bodyPr>
          <a:lstStyle/>
          <a:p>
            <a:r>
              <a:rPr lang="en-IN" sz="2400" u="sng" dirty="0">
                <a:ln w="0"/>
                <a:effectLst>
                  <a:outerShdw blurRad="38100" dist="19050" dir="2700000" algn="tl" rotWithShape="0">
                    <a:schemeClr val="dk1">
                      <a:alpha val="40000"/>
                    </a:schemeClr>
                  </a:outerShdw>
                </a:effectLst>
              </a:rPr>
              <a:t>Eligibility Criteria for Gratuity Fund:</a:t>
            </a:r>
            <a:endParaRPr lang="en-IN" u="sng" dirty="0">
              <a:ln w="0"/>
              <a:effectLst>
                <a:outerShdw blurRad="38100" dist="19050" dir="2700000" algn="tl" rotWithShape="0">
                  <a:schemeClr val="dk1">
                    <a:alpha val="40000"/>
                  </a:schemeClr>
                </a:outerShdw>
              </a:effectLst>
            </a:endParaRPr>
          </a:p>
          <a:p>
            <a:endParaRPr lang="en-IN" sz="1600" dirty="0">
              <a:ln w="0"/>
              <a:effectLst>
                <a:outerShdw blurRad="38100" dist="19050" dir="2700000" algn="tl" rotWithShape="0">
                  <a:schemeClr val="dk1">
                    <a:alpha val="40000"/>
                  </a:schemeClr>
                </a:outerShdw>
              </a:effectLst>
            </a:endParaRPr>
          </a:p>
          <a:p>
            <a:r>
              <a:rPr lang="en-IN" sz="1400" dirty="0">
                <a:ln w="0"/>
                <a:effectLst>
                  <a:outerShdw blurRad="38100" dist="19050" dir="2700000" algn="tl" rotWithShape="0">
                    <a:schemeClr val="dk1">
                      <a:alpha val="40000"/>
                    </a:schemeClr>
                  </a:outerShdw>
                </a:effectLst>
                <a:latin typeface="+mn-lt"/>
                <a:ea typeface="Times New Roman" panose="02020603050405020304" pitchFamily="18" charset="0"/>
              </a:rPr>
              <a:t>An employee who worked for 4 years and 240 days or more </a:t>
            </a:r>
            <a:r>
              <a:rPr lang="en-US" sz="1400" dirty="0">
                <a:ln w="0"/>
                <a:effectLst>
                  <a:outerShdw blurRad="38100" dist="19050" dir="2700000" algn="tl" rotWithShape="0">
                    <a:schemeClr val="dk1">
                      <a:alpha val="40000"/>
                    </a:schemeClr>
                  </a:outerShdw>
                </a:effectLst>
                <a:ea typeface="Calibri" panose="020F0502020204030204" pitchFamily="34" charset="0"/>
              </a:rPr>
              <a:t>for India service period</a:t>
            </a:r>
            <a:r>
              <a:rPr lang="en-IN" sz="1400" dirty="0">
                <a:ln w="0"/>
                <a:effectLst>
                  <a:outerShdw blurRad="38100" dist="19050" dir="2700000" algn="tl" rotWithShape="0">
                    <a:schemeClr val="dk1">
                      <a:alpha val="40000"/>
                    </a:schemeClr>
                  </a:outerShdw>
                </a:effectLst>
                <a:latin typeface="+mn-lt"/>
                <a:ea typeface="Times New Roman" panose="02020603050405020304" pitchFamily="18" charset="0"/>
              </a:rPr>
              <a:t>, will be eligible for gratuity</a:t>
            </a:r>
            <a:r>
              <a:rPr lang="en-US" sz="1400" dirty="0">
                <a:ln w="0"/>
                <a:effectLst>
                  <a:outerShdw blurRad="38100" dist="19050" dir="2700000" algn="tl" rotWithShape="0">
                    <a:schemeClr val="dk1">
                      <a:alpha val="40000"/>
                    </a:schemeClr>
                  </a:outerShdw>
                </a:effectLst>
                <a:ea typeface="Calibri" panose="020F0502020204030204" pitchFamily="34" charset="0"/>
              </a:rPr>
              <a:t>.</a:t>
            </a:r>
            <a:endParaRPr lang="en-IN" sz="1400" dirty="0">
              <a:ln w="0"/>
              <a:effectLst>
                <a:outerShdw blurRad="38100" dist="19050" dir="2700000" algn="tl" rotWithShape="0">
                  <a:schemeClr val="dk1">
                    <a:alpha val="40000"/>
                  </a:schemeClr>
                </a:outerShdw>
              </a:effectLst>
              <a:ea typeface="Calibri" panose="020F0502020204030204" pitchFamily="34" charset="0"/>
            </a:endParaRPr>
          </a:p>
        </p:txBody>
      </p:sp>
      <p:sp>
        <p:nvSpPr>
          <p:cNvPr id="16" name="TextBox 15">
            <a:extLst>
              <a:ext uri="{FF2B5EF4-FFF2-40B4-BE49-F238E27FC236}">
                <a16:creationId xmlns:a16="http://schemas.microsoft.com/office/drawing/2014/main" id="{ADB5D417-C620-48D3-8958-6BA547BC19BB}"/>
              </a:ext>
            </a:extLst>
          </p:cNvPr>
          <p:cNvSpPr txBox="1"/>
          <p:nvPr/>
        </p:nvSpPr>
        <p:spPr>
          <a:xfrm>
            <a:off x="1231777" y="3736443"/>
            <a:ext cx="9183209" cy="2831544"/>
          </a:xfrm>
          <a:prstGeom prst="rect">
            <a:avLst/>
          </a:prstGeom>
          <a:noFill/>
        </p:spPr>
        <p:txBody>
          <a:bodyPr wrap="square" rtlCol="0">
            <a:spAutoFit/>
          </a:bodyPr>
          <a:lstStyle/>
          <a:p>
            <a:r>
              <a:rPr lang="en-IN" u="sng" dirty="0">
                <a:ln w="0"/>
                <a:effectLst>
                  <a:outerShdw blurRad="38100" dist="19050" dir="2700000" algn="tl" rotWithShape="0">
                    <a:schemeClr val="dk1">
                      <a:alpha val="40000"/>
                    </a:schemeClr>
                  </a:outerShdw>
                </a:effectLst>
              </a:rPr>
              <a:t>Process to claim Gratuity Fund:</a:t>
            </a:r>
          </a:p>
          <a:p>
            <a:endParaRPr lang="en-IN" sz="1200" dirty="0"/>
          </a:p>
          <a:p>
            <a:pPr marL="342900" indent="-342900">
              <a:buFont typeface="+mj-lt"/>
              <a:buAutoNum type="arabicParenR"/>
            </a:pPr>
            <a:r>
              <a:rPr lang="en-IN" sz="1200" dirty="0">
                <a:ln w="0"/>
                <a:effectLst>
                  <a:outerShdw blurRad="38100" dist="19050" dir="2700000" algn="tl" rotWithShape="0">
                    <a:schemeClr val="dk1">
                      <a:alpha val="40000"/>
                    </a:schemeClr>
                  </a:outerShdw>
                </a:effectLst>
              </a:rPr>
              <a:t>No Claim Form is required for Gratuity amount below 20 lacs</a:t>
            </a:r>
          </a:p>
          <a:p>
            <a:pPr marL="342900" indent="-342900">
              <a:buFont typeface="+mj-lt"/>
              <a:buAutoNum type="arabicParenR"/>
            </a:pPr>
            <a:endParaRPr lang="en-IN" sz="1200" dirty="0">
              <a:ln w="0"/>
              <a:effectLst>
                <a:outerShdw blurRad="38100" dist="19050" dir="2700000" algn="tl" rotWithShape="0">
                  <a:schemeClr val="dk1">
                    <a:alpha val="40000"/>
                  </a:schemeClr>
                </a:outerShdw>
              </a:effectLst>
            </a:endParaRPr>
          </a:p>
          <a:p>
            <a:pPr marL="342900" indent="-342900">
              <a:buFont typeface="+mj-lt"/>
              <a:buAutoNum type="arabicParenR"/>
            </a:pPr>
            <a:r>
              <a:rPr lang="en-IN" sz="1200" dirty="0">
                <a:ln w="0"/>
                <a:effectLst>
                  <a:outerShdw blurRad="38100" dist="19050" dir="2700000" algn="tl" rotWithShape="0">
                    <a:schemeClr val="dk1">
                      <a:alpha val="40000"/>
                    </a:schemeClr>
                  </a:outerShdw>
                </a:effectLst>
              </a:rPr>
              <a:t>If your Gratuity amount is 20 lacs &amp; above in lifetime, kindly provide Gratuity Declaration Form </a:t>
            </a:r>
          </a:p>
          <a:p>
            <a:pPr marL="342900" indent="-342900">
              <a:buFont typeface="+mj-lt"/>
              <a:buAutoNum type="arabicParenR"/>
            </a:pPr>
            <a:endParaRPr lang="en-IN" sz="1200" dirty="0">
              <a:ln w="0"/>
              <a:effectLst>
                <a:outerShdw blurRad="38100" dist="19050" dir="2700000" algn="tl" rotWithShape="0">
                  <a:schemeClr val="dk1">
                    <a:alpha val="40000"/>
                  </a:schemeClr>
                </a:outerShdw>
              </a:effectLst>
            </a:endParaRPr>
          </a:p>
          <a:p>
            <a:pPr marL="342900" indent="-342900">
              <a:buFont typeface="+mj-lt"/>
              <a:buAutoNum type="arabicParenR"/>
            </a:pPr>
            <a:r>
              <a:rPr lang="en-IN" sz="1200" dirty="0">
                <a:ln w="0"/>
                <a:effectLst>
                  <a:outerShdw blurRad="38100" dist="19050" dir="2700000" algn="tl" rotWithShape="0">
                    <a:schemeClr val="dk1">
                      <a:alpha val="40000"/>
                    </a:schemeClr>
                  </a:outerShdw>
                </a:effectLst>
              </a:rPr>
              <a:t>Upon Validation of the record, the claim will be processed, and disbursement of the amount will be done in your Salary Bank Account updated under Payroll record</a:t>
            </a:r>
          </a:p>
          <a:p>
            <a:pPr marL="342900" indent="-342900">
              <a:buFont typeface="+mj-lt"/>
              <a:buAutoNum type="arabicParenR"/>
            </a:pPr>
            <a:endParaRPr lang="en-IN" sz="1200" dirty="0">
              <a:ln w="0"/>
              <a:effectLst>
                <a:outerShdw blurRad="38100" dist="19050" dir="2700000" algn="tl" rotWithShape="0">
                  <a:schemeClr val="dk1">
                    <a:alpha val="40000"/>
                  </a:schemeClr>
                </a:outerShdw>
              </a:effectLst>
            </a:endParaRPr>
          </a:p>
          <a:p>
            <a:pPr marL="342900" indent="-342900">
              <a:buFont typeface="+mj-lt"/>
              <a:buAutoNum type="arabicParenR"/>
            </a:pPr>
            <a:r>
              <a:rPr lang="en-IN" sz="1200" dirty="0">
                <a:ln w="0"/>
                <a:effectLst>
                  <a:outerShdw blurRad="38100" dist="19050" dir="2700000" algn="tl" rotWithShape="0">
                    <a:schemeClr val="dk1">
                      <a:alpha val="40000"/>
                    </a:schemeClr>
                  </a:outerShdw>
                </a:effectLst>
              </a:rPr>
              <a:t>For onsite cases- pls share bank account details with Retirals Team at below mentioned mail ids:</a:t>
            </a:r>
          </a:p>
          <a:p>
            <a:endParaRPr lang="en-IN" sz="1200" dirty="0">
              <a:ln w="0"/>
              <a:effectLst>
                <a:outerShdw blurRad="38100" dist="19050" dir="2700000" algn="tl" rotWithShape="0">
                  <a:schemeClr val="dk1">
                    <a:alpha val="40000"/>
                  </a:schemeClr>
                </a:outerShdw>
              </a:effectLst>
            </a:endParaRPr>
          </a:p>
          <a:p>
            <a:r>
              <a:rPr lang="en-IN" sz="1200" dirty="0">
                <a:ln w="0"/>
                <a:effectLst>
                  <a:outerShdw blurRad="38100" dist="19050" dir="2700000" algn="tl" rotWithShape="0">
                    <a:schemeClr val="dk1">
                      <a:alpha val="40000"/>
                    </a:schemeClr>
                  </a:outerShdw>
                </a:effectLst>
              </a:rPr>
              <a:t>	Salvi, Yogesh &lt;yogesh.salvi@capgemini.com&gt;</a:t>
            </a:r>
          </a:p>
          <a:p>
            <a:r>
              <a:rPr lang="fi-FI" sz="1400" dirty="0">
                <a:ln w="0"/>
                <a:effectLst>
                  <a:outerShdw blurRad="38100" dist="19050" dir="2700000" algn="tl" rotWithShape="0">
                    <a:schemeClr val="dk1">
                      <a:alpha val="40000"/>
                    </a:schemeClr>
                  </a:outerShdw>
                </a:effectLst>
              </a:rPr>
              <a:t>	</a:t>
            </a:r>
            <a:r>
              <a:rPr lang="fi-FI" sz="1200" dirty="0">
                <a:ln w="0"/>
                <a:effectLst>
                  <a:outerShdw blurRad="38100" dist="19050" dir="2700000" algn="tl" rotWithShape="0">
                    <a:schemeClr val="dk1">
                      <a:alpha val="40000"/>
                    </a:schemeClr>
                  </a:outerShdw>
                </a:effectLst>
              </a:rPr>
              <a:t>Natarajan, Sendu &lt;sendu.natarajan@capgemini.com&gt;</a:t>
            </a:r>
            <a:endParaRPr lang="en-IN" sz="1200" dirty="0">
              <a:ln w="0"/>
              <a:effectLst>
                <a:outerShdw blurRad="38100" dist="19050" dir="2700000" algn="tl" rotWithShape="0">
                  <a:schemeClr val="dk1">
                    <a:alpha val="40000"/>
                  </a:schemeClr>
                </a:outerShdw>
              </a:effectLst>
            </a:endParaRPr>
          </a:p>
          <a:p>
            <a:endParaRPr lang="en-IN" sz="1400" dirty="0"/>
          </a:p>
        </p:txBody>
      </p:sp>
      <p:pic>
        <p:nvPicPr>
          <p:cNvPr id="4" name="Picture 3" descr="Diagram&#10;&#10;Description automatically generated with medium confidence">
            <a:extLst>
              <a:ext uri="{FF2B5EF4-FFF2-40B4-BE49-F238E27FC236}">
                <a16:creationId xmlns:a16="http://schemas.microsoft.com/office/drawing/2014/main" id="{20114C23-86DC-4512-BA60-33CA5A6A53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3933" y="1207032"/>
            <a:ext cx="2390775" cy="1914525"/>
          </a:xfrm>
          <a:prstGeom prst="rect">
            <a:avLst/>
          </a:prstGeom>
        </p:spPr>
      </p:pic>
    </p:spTree>
    <p:extLst>
      <p:ext uri="{BB962C8B-B14F-4D97-AF65-F5344CB8AC3E}">
        <p14:creationId xmlns:p14="http://schemas.microsoft.com/office/powerpoint/2010/main" val="1907345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pt-Capgemini_Standard-Template_2022.pptx" id="{4E267CF8-9105-4C04-8A4B-7AEE8CF5A090}" vid="{CF555E12-DAD9-47F9-A47B-5AD9CFEEC164}"/>
    </a:ext>
  </a:extLst>
</a:theme>
</file>

<file path=ppt/theme/theme2.xml><?xml version="1.0" encoding="utf-8"?>
<a:theme xmlns:a="http://schemas.openxmlformats.org/drawingml/2006/main" name="Facet">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473</TotalTime>
  <Words>1589</Words>
  <Application>Microsoft Office PowerPoint</Application>
  <PresentationFormat>Widescreen</PresentationFormat>
  <Paragraphs>157</Paragraphs>
  <Slides>14</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7" baseType="lpstr">
      <vt:lpstr>Arial</vt:lpstr>
      <vt:lpstr>Calibri</vt:lpstr>
      <vt:lpstr>Georgia</vt:lpstr>
      <vt:lpstr>Trebuchet MS</vt:lpstr>
      <vt:lpstr>Ubuntu</vt:lpstr>
      <vt:lpstr>Ubuntu Medium</vt:lpstr>
      <vt:lpstr>Verdana</vt:lpstr>
      <vt:lpstr>Wingdings</vt:lpstr>
      <vt:lpstr>Wingdings 3</vt:lpstr>
      <vt:lpstr>Capgemini2021</vt:lpstr>
      <vt:lpstr>Facet</vt:lpstr>
      <vt:lpstr>think-cell Slide</vt:lpstr>
      <vt:lpstr>Acrobat Document</vt:lpstr>
      <vt:lpstr>RETIR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GET THE   FUTURE  YOU WA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hmed, Sajjad</dc:creator>
  <cp:lastModifiedBy>Acharekar, Pranali Shashikant</cp:lastModifiedBy>
  <cp:revision>13</cp:revision>
  <dcterms:created xsi:type="dcterms:W3CDTF">2020-07-16T02:00:39Z</dcterms:created>
  <dcterms:modified xsi:type="dcterms:W3CDTF">2024-01-12T07:53:32Z</dcterms:modified>
</cp:coreProperties>
</file>